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38" r:id="rId4"/>
    <p:sldMasterId id="2147484048" r:id="rId5"/>
    <p:sldMasterId id="2147484061" r:id="rId6"/>
    <p:sldMasterId id="2147484074" r:id="rId7"/>
    <p:sldMasterId id="2147484229" r:id="rId8"/>
  </p:sldMasterIdLst>
  <p:notesMasterIdLst>
    <p:notesMasterId r:id="rId59"/>
  </p:notesMasterIdLst>
  <p:handoutMasterIdLst>
    <p:handoutMasterId r:id="rId60"/>
  </p:handoutMasterIdLst>
  <p:sldIdLst>
    <p:sldId id="2147309485" r:id="rId9"/>
    <p:sldId id="258" r:id="rId10"/>
    <p:sldId id="257" r:id="rId11"/>
    <p:sldId id="267" r:id="rId12"/>
    <p:sldId id="2147309494" r:id="rId13"/>
    <p:sldId id="2147309537" r:id="rId14"/>
    <p:sldId id="2147309536" r:id="rId15"/>
    <p:sldId id="2147309439" r:id="rId16"/>
    <p:sldId id="2147309434" r:id="rId17"/>
    <p:sldId id="2147309455" r:id="rId18"/>
    <p:sldId id="2147309421" r:id="rId19"/>
    <p:sldId id="2147309446" r:id="rId20"/>
    <p:sldId id="2147309456" r:id="rId21"/>
    <p:sldId id="2147309490" r:id="rId22"/>
    <p:sldId id="2147309546" r:id="rId23"/>
    <p:sldId id="2147309539" r:id="rId24"/>
    <p:sldId id="2147309542" r:id="rId25"/>
    <p:sldId id="2147309487" r:id="rId26"/>
    <p:sldId id="2147309383" r:id="rId27"/>
    <p:sldId id="2147309547" r:id="rId28"/>
    <p:sldId id="2142533578" r:id="rId29"/>
    <p:sldId id="2142533537" r:id="rId30"/>
    <p:sldId id="2147309531" r:id="rId31"/>
    <p:sldId id="2147309530" r:id="rId32"/>
    <p:sldId id="2147309529" r:id="rId33"/>
    <p:sldId id="2147309521" r:id="rId34"/>
    <p:sldId id="2147309520" r:id="rId35"/>
    <p:sldId id="2147309519" r:id="rId36"/>
    <p:sldId id="2147309518" r:id="rId37"/>
    <p:sldId id="2147309517" r:id="rId38"/>
    <p:sldId id="2147309516" r:id="rId39"/>
    <p:sldId id="2142533654" r:id="rId40"/>
    <p:sldId id="2147309394" r:id="rId41"/>
    <p:sldId id="2147309533" r:id="rId42"/>
    <p:sldId id="2147309514" r:id="rId43"/>
    <p:sldId id="2147309513" r:id="rId44"/>
    <p:sldId id="2147309511" r:id="rId45"/>
    <p:sldId id="2147309510" r:id="rId46"/>
    <p:sldId id="2147309507" r:id="rId47"/>
    <p:sldId id="2147309548" r:id="rId48"/>
    <p:sldId id="2147309414" r:id="rId49"/>
    <p:sldId id="2147309413" r:id="rId50"/>
    <p:sldId id="2147309495" r:id="rId51"/>
    <p:sldId id="2147309496" r:id="rId52"/>
    <p:sldId id="2147309497" r:id="rId53"/>
    <p:sldId id="2147309498" r:id="rId54"/>
    <p:sldId id="2147309499" r:id="rId55"/>
    <p:sldId id="2147309500" r:id="rId56"/>
    <p:sldId id="2147309549" r:id="rId57"/>
    <p:sldId id="268" r:id="rId58"/>
  </p:sldIdLst>
  <p:sldSz cx="11520488" cy="6480175"/>
  <p:notesSz cx="6797675" cy="9926638"/>
  <p:custDataLst>
    <p:tags r:id="rId61"/>
  </p:custDataLst>
  <p:defaultTextStyle>
    <a:defPPr>
      <a:defRPr lang="nl-NL"/>
    </a:defPPr>
    <a:lvl1pPr marL="0" algn="l" defTabSz="863959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1pPr>
    <a:lvl2pPr marL="431979" algn="l" defTabSz="863959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2pPr>
    <a:lvl3pPr marL="863959" algn="l" defTabSz="863959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3pPr>
    <a:lvl4pPr marL="1295938" algn="l" defTabSz="863959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4pPr>
    <a:lvl5pPr marL="1727917" algn="l" defTabSz="863959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5pPr>
    <a:lvl6pPr marL="2159896" algn="l" defTabSz="863959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6pPr>
    <a:lvl7pPr marL="2591875" algn="l" defTabSz="863959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7pPr>
    <a:lvl8pPr marL="3023854" algn="l" defTabSz="863959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8pPr>
    <a:lvl9pPr marL="3455833" algn="l" defTabSz="863959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DCB2F35-D326-406A-8F4B-04F3AF01943F}">
          <p14:sldIdLst>
            <p14:sldId id="2147309485"/>
            <p14:sldId id="258"/>
            <p14:sldId id="257"/>
            <p14:sldId id="267"/>
            <p14:sldId id="2147309494"/>
            <p14:sldId id="2147309537"/>
            <p14:sldId id="2147309536"/>
            <p14:sldId id="2147309439"/>
            <p14:sldId id="2147309434"/>
            <p14:sldId id="2147309455"/>
            <p14:sldId id="2147309421"/>
            <p14:sldId id="2147309446"/>
            <p14:sldId id="2147309456"/>
            <p14:sldId id="2147309490"/>
            <p14:sldId id="2147309546"/>
            <p14:sldId id="2147309539"/>
            <p14:sldId id="2147309542"/>
            <p14:sldId id="2147309487"/>
            <p14:sldId id="2147309383"/>
            <p14:sldId id="2147309547"/>
            <p14:sldId id="2142533578"/>
            <p14:sldId id="2142533537"/>
            <p14:sldId id="2147309531"/>
            <p14:sldId id="2147309530"/>
            <p14:sldId id="2147309529"/>
            <p14:sldId id="2147309521"/>
            <p14:sldId id="2147309520"/>
            <p14:sldId id="2147309519"/>
            <p14:sldId id="2147309518"/>
            <p14:sldId id="2147309517"/>
            <p14:sldId id="2147309516"/>
            <p14:sldId id="2142533654"/>
            <p14:sldId id="2147309394"/>
            <p14:sldId id="2147309533"/>
            <p14:sldId id="2147309514"/>
            <p14:sldId id="2147309513"/>
            <p14:sldId id="2147309511"/>
            <p14:sldId id="2147309510"/>
            <p14:sldId id="2147309507"/>
            <p14:sldId id="2147309548"/>
            <p14:sldId id="2147309414"/>
            <p14:sldId id="2147309413"/>
            <p14:sldId id="2147309495"/>
            <p14:sldId id="2147309496"/>
            <p14:sldId id="2147309497"/>
            <p14:sldId id="2147309498"/>
            <p14:sldId id="2147309499"/>
            <p14:sldId id="2147309500"/>
            <p14:sldId id="2147309549"/>
            <p14:sldId id="268"/>
          </p14:sldIdLst>
        </p14:section>
        <p14:section name="Plenaire deel" id="{B9E5CC56-4255-4CA2-A146-AEFE6B919FFF}">
          <p14:sldIdLst/>
        </p14:section>
        <p14:section name="Salacia deel" id="{A931D713-11A7-420F-95FB-4EFF54C38BA8}">
          <p14:sldIdLst/>
        </p14:section>
        <p14:section name="SWO" id="{6028997C-2020-4FF4-831F-1BFA628AD006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F85191A-BF4C-3E19-9D77-07BBCD1DFB26}" name="Rutger van IJzendoorn" initials="Rv" userId="S::Rutger.van.IJzendoorn@conclusion.nl::55f2b528-a121-4d2a-b9e9-484ca3309c47" providerId="AD"/>
  <p188:author id="{049EFC7D-FFCC-5D9F-2B1C-CA801B2145A2}" name="Tim Linger" initials="TL" userId="S::linger_hotitem.nl#ext#@salaciasolutions.onmicrosoft.com::1cd98b54-abf3-49e0-a615-a86c09fb7af0" providerId="AD"/>
  <p188:author id="{D924D1D9-AED7-9E0E-6EF0-9C416D0134FD}" name="Christian Penning" initials="CP" userId="S::c.penning@mvonederland.nl::a597e5ed-24a7-4e0c-9cb4-f3e5f027c246" providerId="AD"/>
  <p188:author id="{4BBD69EB-0697-166C-F90C-821D8E6A6E4B}" name="Christian Penning" initials="CP" userId="S::c.penning_mvonederland.nl#ext#@salaciasolutions.onmicrosoft.com::fe78e42b-d6fe-4eec-b48a-6e597efb90b6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im Verweij" initials="WV" lastIdx="13" clrIdx="0">
    <p:extLst>
      <p:ext uri="{19B8F6BF-5375-455C-9EA6-DF929625EA0E}">
        <p15:presenceInfo xmlns:p15="http://schemas.microsoft.com/office/powerpoint/2012/main" userId="S::Verweij@hotitem.nl::d0d3dec5-9e70-43f7-a2d4-8915ca170f08" providerId="AD"/>
      </p:ext>
    </p:extLst>
  </p:cmAuthor>
  <p:cmAuthor id="2" name="bastiaan sjardin" initials="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DEE3"/>
    <a:srgbClr val="BAE8D1"/>
    <a:srgbClr val="79CC8E"/>
    <a:srgbClr val="959CAB"/>
    <a:srgbClr val="3FBE80"/>
    <a:srgbClr val="236B47"/>
    <a:srgbClr val="2F8D5E"/>
    <a:srgbClr val="F3FBF7"/>
    <a:srgbClr val="D6F2E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5A86E92-167D-153A-3EFA-D40985F18041}" v="397" dt="2024-06-12T08:52:16.76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F5AB1C69-6EDB-4FF4-983F-18BD219EF322}" styleName="Stijl, gemiddeld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jl, gemiddeld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792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63" Type="http://schemas.openxmlformats.org/officeDocument/2006/relationships/presProps" Target="presProps.xml"/><Relationship Id="rId68" Type="http://schemas.microsoft.com/office/2018/10/relationships/authors" Target="author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66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61" Type="http://schemas.openxmlformats.org/officeDocument/2006/relationships/tags" Target="tags/tag1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slide" Target="slides/slide48.xml"/><Relationship Id="rId64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3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notesMaster" Target="notesMasters/notesMaster1.xml"/><Relationship Id="rId67" Type="http://schemas.microsoft.com/office/2015/10/relationships/revisionInfo" Target="revisionInfo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slide" Target="slides/slide46.xml"/><Relationship Id="rId62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slide" Target="slides/slide49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handoutMaster" Target="handoutMasters/handoutMaster1.xml"/><Relationship Id="rId65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43853" y="234487"/>
            <a:ext cx="2854667" cy="234488"/>
          </a:xfrm>
          <a:prstGeom prst="rect">
            <a:avLst/>
          </a:prstGeom>
        </p:spPr>
        <p:txBody>
          <a:bodyPr vert="horz" lIns="36000" tIns="36000" rIns="36000" bIns="36000" rtlCol="0"/>
          <a:lstStyle>
            <a:lvl1pPr algn="l">
              <a:defRPr sz="1200"/>
            </a:lvl1pPr>
          </a:lstStyle>
          <a:p>
            <a:endParaRPr lang="nl-NL" sz="100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398520" y="232368"/>
            <a:ext cx="2854667" cy="234488"/>
          </a:xfrm>
          <a:prstGeom prst="rect">
            <a:avLst/>
          </a:prstGeom>
        </p:spPr>
        <p:txBody>
          <a:bodyPr vert="horz" lIns="36000" tIns="36000" rIns="36000" bIns="36000" rtlCol="0"/>
          <a:lstStyle>
            <a:lvl1pPr algn="r">
              <a:defRPr sz="1200"/>
            </a:lvl1pPr>
          </a:lstStyle>
          <a:p>
            <a:fld id="{0A9EE18A-A16E-43D0-A550-ABCA7766BC4C}" type="datetimeFigureOut">
              <a:rPr lang="nl-NL" sz="100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21-6-2024</a:t>
            </a:fld>
            <a:endParaRPr lang="nl-NL" sz="100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43854" y="9379169"/>
            <a:ext cx="4996222" cy="234488"/>
          </a:xfrm>
          <a:prstGeom prst="rect">
            <a:avLst/>
          </a:prstGeom>
        </p:spPr>
        <p:txBody>
          <a:bodyPr vert="horz" lIns="36000" tIns="36000" rIns="36000" bIns="3600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540075" y="9379169"/>
            <a:ext cx="733047" cy="234488"/>
          </a:xfrm>
          <a:prstGeom prst="rect">
            <a:avLst/>
          </a:prstGeom>
        </p:spPr>
        <p:txBody>
          <a:bodyPr vert="horz" lIns="36000" tIns="36000" rIns="36000" bIns="36000" rtlCol="0" anchor="b"/>
          <a:lstStyle>
            <a:lvl1pPr algn="r">
              <a:defRPr sz="1200"/>
            </a:lvl1pPr>
          </a:lstStyle>
          <a:p>
            <a:fld id="{5DA06A97-AFB8-492C-90E1-91ED3617C363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313662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43854" y="234488"/>
            <a:ext cx="2854984" cy="312650"/>
          </a:xfrm>
          <a:prstGeom prst="rect">
            <a:avLst/>
          </a:prstGeom>
        </p:spPr>
        <p:txBody>
          <a:bodyPr vert="horz" lIns="36000" tIns="36000" rIns="36000" bIns="36000" rtlCol="0"/>
          <a:lstStyle>
            <a:lvl1pPr algn="l">
              <a:defRPr sz="11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397053" y="234488"/>
            <a:ext cx="2854984" cy="312650"/>
          </a:xfrm>
          <a:prstGeom prst="rect">
            <a:avLst/>
          </a:prstGeom>
        </p:spPr>
        <p:txBody>
          <a:bodyPr vert="horz" lIns="36000" tIns="36000" rIns="36000" bIns="36000" rtlCol="0"/>
          <a:lstStyle>
            <a:lvl1pPr algn="r">
              <a:defRPr sz="11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4A779636-BB2C-4189-8CE2-3488DD39777C}" type="datetimeFigureOut">
              <a:rPr lang="nl-NL" smtClean="0"/>
              <a:pPr/>
              <a:t>21-6-2024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768350" y="625475"/>
            <a:ext cx="8334375" cy="4689475"/>
          </a:xfrm>
          <a:prstGeom prst="rect">
            <a:avLst/>
          </a:prstGeom>
          <a:noFill/>
          <a:ln w="28575" cap="rnd">
            <a:solidFill>
              <a:schemeClr val="bg1"/>
            </a:solidFill>
          </a:ln>
          <a:effectLst>
            <a:outerShdw blurRad="25400" dist="25400" dir="5400000" algn="t" rotWithShape="0">
              <a:prstClr val="black">
                <a:alpha val="25000"/>
              </a:prstClr>
            </a:outerShdw>
          </a:effectLst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50612" y="5471375"/>
            <a:ext cx="5709968" cy="3752217"/>
          </a:xfrm>
          <a:prstGeom prst="rect">
            <a:avLst/>
          </a:prstGeom>
        </p:spPr>
        <p:txBody>
          <a:bodyPr vert="horz" lIns="36000" tIns="36000" rIns="36000" bIns="3600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545677" y="9379500"/>
            <a:ext cx="4994399" cy="234488"/>
          </a:xfrm>
          <a:prstGeom prst="rect">
            <a:avLst/>
          </a:prstGeom>
        </p:spPr>
        <p:txBody>
          <a:bodyPr vert="horz" lIns="36000" tIns="36000" rIns="36000" bIns="3600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540075" y="9379500"/>
            <a:ext cx="713746" cy="234488"/>
          </a:xfrm>
          <a:prstGeom prst="rect">
            <a:avLst/>
          </a:prstGeom>
        </p:spPr>
        <p:txBody>
          <a:bodyPr vert="horz" lIns="36000" tIns="36000" rIns="36000" bIns="36000" rtlCol="0" anchor="b"/>
          <a:lstStyle>
            <a:lvl1pPr algn="r">
              <a:defRPr sz="1200"/>
            </a:lvl1pPr>
          </a:lstStyle>
          <a:p>
            <a:fld id="{A27DDF1D-F808-40F6-903D-1054A04FF0EC}" type="slidenum">
              <a:rPr lang="nl-NL" smtClean="0"/>
              <a:t>‹#›</a:t>
            </a:fld>
            <a:endParaRPr lang="nl-NL"/>
          </a:p>
        </p:txBody>
      </p:sp>
      <p:cxnSp>
        <p:nvCxnSpPr>
          <p:cNvPr id="9" name="Straight Connector 8"/>
          <p:cNvCxnSpPr/>
          <p:nvPr/>
        </p:nvCxnSpPr>
        <p:spPr>
          <a:xfrm>
            <a:off x="542387" y="9301338"/>
            <a:ext cx="5709968" cy="0"/>
          </a:xfrm>
          <a:prstGeom prst="line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05964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3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788" indent="0" algn="l" defTabSz="914338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57164" indent="0" algn="l" defTabSz="914338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534952" indent="0" algn="l" defTabSz="914338" rtl="0" eaLnBrk="1" latinLnBrk="0" hangingPunct="1">
      <a:defRPr sz="800" kern="1200">
        <a:solidFill>
          <a:schemeClr val="tx1">
            <a:lumMod val="60000"/>
            <a:lumOff val="40000"/>
          </a:schemeClr>
        </a:solidFill>
        <a:latin typeface="+mn-lt"/>
        <a:ea typeface="+mn-ea"/>
        <a:cs typeface="+mn-cs"/>
      </a:defRPr>
    </a:lvl4pPr>
    <a:lvl5pPr marL="720677" indent="0" algn="l" defTabSz="914338" rtl="0" eaLnBrk="1" latinLnBrk="0" hangingPunct="1">
      <a:defRPr sz="700" kern="1200">
        <a:solidFill>
          <a:schemeClr val="tx1">
            <a:lumMod val="60000"/>
            <a:lumOff val="40000"/>
          </a:schemeClr>
        </a:solidFill>
        <a:latin typeface="+mn-lt"/>
        <a:ea typeface="+mn-ea"/>
        <a:cs typeface="+mn-cs"/>
      </a:defRPr>
    </a:lvl5pPr>
    <a:lvl6pPr marL="2285846" algn="l" defTabSz="91433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15" algn="l" defTabSz="91433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84" algn="l" defTabSz="91433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54" algn="l" defTabSz="91433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7DDF1D-F808-40F6-903D-1054A04FF0EC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533639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E13EB8-C26A-5078-AF31-9D29206FB7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B2FDCD84-353B-FB11-2F66-34AF38A45A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71997759-AECD-7B7D-2EB9-8D77C9FA9D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sz="440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E8E92808-B951-A9CF-0DE1-245C45119AA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7DDF1D-F808-40F6-903D-1054A04FF0EC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555C6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6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70520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7DDF1D-F808-40F6-903D-1054A04FF0EC}" type="slidenum">
              <a:rPr lang="nl-NL" smtClean="0"/>
              <a:t>4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331256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7DDF1D-F808-40F6-903D-1054A04FF0EC}" type="slidenum">
              <a:rPr lang="nl-NL" smtClean="0"/>
              <a:t>4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402624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7DDF1D-F808-40F6-903D-1054A04FF0EC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53125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7DDF1D-F808-40F6-903D-1054A04FF0EC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84864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7DDF1D-F808-40F6-903D-1054A04FF0EC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645469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sz="440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7DDF1D-F808-40F6-903D-1054A04FF0EC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555C6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6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83948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Schaal hoe erg is de impact</a:t>
            </a:r>
          </a:p>
          <a:p>
            <a:r>
              <a:rPr lang="en-US" dirty="0">
                <a:ea typeface="Calibri"/>
                <a:cs typeface="Calibri"/>
              </a:rPr>
              <a:t>Scope hoe </a:t>
            </a:r>
            <a:r>
              <a:rPr lang="en-US" dirty="0" err="1">
                <a:ea typeface="Calibri"/>
                <a:cs typeface="Calibri"/>
              </a:rPr>
              <a:t>groot</a:t>
            </a:r>
            <a:r>
              <a:rPr lang="en-US" dirty="0">
                <a:ea typeface="Calibri"/>
                <a:cs typeface="Calibri"/>
              </a:rPr>
              <a:t> is de impact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7DDF1D-F808-40F6-903D-1054A04FF0EC}" type="slidenum">
              <a:rPr lang="nl-NL" smtClean="0"/>
              <a:t>1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902891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Clr>
                <a:schemeClr val="accent3"/>
              </a:buClr>
            </a:pPr>
            <a:r>
              <a:rPr lang="en-US"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utger: </a:t>
            </a:r>
            <a:r>
              <a:rPr lang="en-US" sz="120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tegreren</a:t>
            </a:r>
            <a:r>
              <a:rPr lang="en-US"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met </a:t>
            </a:r>
            <a:r>
              <a:rPr lang="en-US" sz="120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staande</a:t>
            </a:r>
            <a:r>
              <a:rPr lang="en-US"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SG </a:t>
            </a:r>
            <a:r>
              <a:rPr lang="en-US" sz="120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rategie</a:t>
            </a:r>
            <a:r>
              <a:rPr lang="en-US"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; wat </a:t>
            </a:r>
            <a:r>
              <a:rPr lang="en-US" sz="120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eeft</a:t>
            </a:r>
            <a:r>
              <a:rPr lang="en-US"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WO </a:t>
            </a:r>
            <a:r>
              <a:rPr lang="en-US" sz="120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an</a:t>
            </a:r>
            <a:r>
              <a:rPr lang="en-US"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rategie</a:t>
            </a:r>
            <a:r>
              <a:rPr lang="en-US"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rticulatie</a:t>
            </a:r>
            <a:r>
              <a:rPr lang="en-US"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?</a:t>
            </a:r>
          </a:p>
          <a:p>
            <a:pPr algn="l">
              <a:buClr>
                <a:schemeClr val="accent3"/>
              </a:buClr>
            </a:pPr>
            <a:endParaRPr lang="en-US" sz="12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>
              <a:buClr>
                <a:schemeClr val="accent3"/>
              </a:buClr>
            </a:pPr>
            <a:r>
              <a:rPr lang="en-US"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ees: </a:t>
            </a:r>
            <a:r>
              <a:rPr lang="nl-NL"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ergie, klimaatemissies en eigen medewerkers</a:t>
            </a:r>
            <a:endParaRPr lang="en-GB" sz="12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/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7DDF1D-F808-40F6-903D-1054A04FF0EC}" type="slidenum">
              <a:rPr lang="nl-NL" smtClean="0"/>
              <a:t>2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722338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8A2358-6CEE-487F-8DC1-ED9219E1B5ED}" type="slidenum">
              <a:rPr lang="nl-NL" smtClean="0"/>
              <a:t>2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343291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82FD51-CD43-4426-8607-8A0D070E389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1258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sv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sv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sv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Honeycomb transparent">
            <a:extLst>
              <a:ext uri="{FF2B5EF4-FFF2-40B4-BE49-F238E27FC236}">
                <a16:creationId xmlns:a16="http://schemas.microsoft.com/office/drawing/2014/main" id="{A91F78B4-735F-4C7E-8837-220B5A289E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6265" y="0"/>
            <a:ext cx="4104619" cy="6480175"/>
          </a:xfrm>
          <a:prstGeom prst="rect">
            <a:avLst/>
          </a:prstGeom>
        </p:spPr>
      </p:pic>
      <p:sp>
        <p:nvSpPr>
          <p:cNvPr id="22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FBE87C9B-922A-4FBA-B05D-E78B3B2AF8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800" y="3960039"/>
            <a:ext cx="6984465" cy="10082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i="0" u="none" spc="40" baseline="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576003" indent="0" algn="ctr">
              <a:buNone/>
              <a:defRPr sz="3528"/>
            </a:lvl2pPr>
            <a:lvl3pPr marL="1152007" indent="0" algn="ctr">
              <a:buNone/>
              <a:defRPr sz="3024"/>
            </a:lvl3pPr>
            <a:lvl4pPr marL="1728010" indent="0" algn="ctr">
              <a:buNone/>
              <a:defRPr sz="2520"/>
            </a:lvl4pPr>
            <a:lvl5pPr marL="2304012" indent="0" algn="ctr">
              <a:buNone/>
              <a:defRPr sz="2520"/>
            </a:lvl5pPr>
            <a:lvl6pPr marL="2880015" indent="0" algn="ctr">
              <a:buNone/>
              <a:defRPr sz="2520"/>
            </a:lvl6pPr>
            <a:lvl7pPr marL="3456019" indent="0" algn="ctr">
              <a:buNone/>
              <a:defRPr sz="2520"/>
            </a:lvl7pPr>
            <a:lvl8pPr marL="4032021" indent="0" algn="ctr">
              <a:buNone/>
              <a:defRPr sz="2520"/>
            </a:lvl8pPr>
            <a:lvl9pPr marL="4608023" indent="0" algn="ctr">
              <a:buNone/>
              <a:defRPr sz="252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9D144522-C5D6-45E4-841B-D7BF7F5465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652" y="1799927"/>
            <a:ext cx="6984613" cy="180020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>
                <a:solidFill>
                  <a:schemeClr val="tx2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5288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3E0B94D5-4D9A-4335-8F90-4EFAC1A276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12" indent="0">
              <a:buFontTx/>
              <a:buNone/>
              <a:defRPr/>
            </a:lvl2pPr>
            <a:lvl3pPr marL="358775" indent="0">
              <a:buFontTx/>
              <a:buNone/>
              <a:defRPr/>
            </a:lvl3pPr>
            <a:lvl4pPr marL="534988" indent="0">
              <a:buFontTx/>
              <a:buNone/>
              <a:defRPr/>
            </a:lvl4pPr>
            <a:lvl5pPr marL="627063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B6565C17-7B8F-48C6-96A5-997EC37AE4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0" y="0"/>
            <a:ext cx="1584000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287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D55A3F2D-B918-45DA-B77D-6A84AF0807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0" y="0"/>
            <a:ext cx="1584000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77785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Honeycomb transparent">
            <a:extLst>
              <a:ext uri="{FF2B5EF4-FFF2-40B4-BE49-F238E27FC236}">
                <a16:creationId xmlns:a16="http://schemas.microsoft.com/office/drawing/2014/main" id="{8C10F077-83A0-4E52-BDAF-C6B3F510E0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6265" y="0"/>
            <a:ext cx="4104619" cy="6480175"/>
          </a:xfrm>
          <a:prstGeom prst="rect">
            <a:avLst/>
          </a:prstGeom>
        </p:spPr>
      </p:pic>
      <p:sp>
        <p:nvSpPr>
          <p:cNvPr id="6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1D0B97C7-EAA8-494C-8B6A-A62ABDCDAF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0" y="0"/>
            <a:ext cx="1584000" cy="1296000"/>
          </a:xfrm>
          <a:prstGeom prst="rect">
            <a:avLst/>
          </a:pr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12427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40061" y="1060529"/>
            <a:ext cx="8640366" cy="2256061"/>
          </a:xfrm>
        </p:spPr>
        <p:txBody>
          <a:bodyPr anchor="b"/>
          <a:lstStyle>
            <a:lvl1pPr algn="ctr">
              <a:defRPr sz="566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61" y="3403592"/>
            <a:ext cx="8640366" cy="1564542"/>
          </a:xfrm>
        </p:spPr>
        <p:txBody>
          <a:bodyPr/>
          <a:lstStyle>
            <a:lvl1pPr marL="0" indent="0" algn="ctr">
              <a:buNone/>
              <a:defRPr sz="2268"/>
            </a:lvl1pPr>
            <a:lvl2pPr marL="432008" indent="0" algn="ctr">
              <a:buNone/>
              <a:defRPr sz="1890"/>
            </a:lvl2pPr>
            <a:lvl3pPr marL="864017" indent="0" algn="ctr">
              <a:buNone/>
              <a:defRPr sz="1701"/>
            </a:lvl3pPr>
            <a:lvl4pPr marL="1296025" indent="0" algn="ctr">
              <a:buNone/>
              <a:defRPr sz="1512"/>
            </a:lvl4pPr>
            <a:lvl5pPr marL="1728033" indent="0" algn="ctr">
              <a:buNone/>
              <a:defRPr sz="1512"/>
            </a:lvl5pPr>
            <a:lvl6pPr marL="2160041" indent="0" algn="ctr">
              <a:buNone/>
              <a:defRPr sz="1512"/>
            </a:lvl6pPr>
            <a:lvl7pPr marL="2592050" indent="0" algn="ctr">
              <a:buNone/>
              <a:defRPr sz="1512"/>
            </a:lvl7pPr>
            <a:lvl8pPr marL="3024058" indent="0" algn="ctr">
              <a:buNone/>
              <a:defRPr sz="1512"/>
            </a:lvl8pPr>
            <a:lvl9pPr marL="3456066" indent="0" algn="ctr">
              <a:buNone/>
              <a:defRPr sz="1512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BF9AB4-2A49-4806-9005-7D8FFFED7AB4}" type="datetimeFigureOut">
              <a:rPr lang="nl-NL" smtClean="0"/>
              <a:t>21-6-2024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154965-77C4-46F2-B5EA-632ABF3C97D5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253522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6" name="Content 3">
            <a:extLst>
              <a:ext uri="{FF2B5EF4-FFF2-40B4-BE49-F238E27FC236}">
                <a16:creationId xmlns:a16="http://schemas.microsoft.com/office/drawing/2014/main" id="{7B1F4D6D-B029-41A9-805A-7456BD7CC951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76468" y="1367879"/>
            <a:ext cx="3311524" cy="4751388"/>
          </a:xfrm>
          <a:prstGeom prst="rect">
            <a:avLst/>
          </a:prstGeom>
        </p:spPr>
        <p:txBody>
          <a:bodyPr lIns="0" rIns="0"/>
          <a:lstStyle>
            <a:lvl1pPr marL="179388" indent="-179388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2000" indent="-144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75" algn="l"/>
                <a:tab pos="1196975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4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4" name="Content 2">
            <a:extLst>
              <a:ext uri="{FF2B5EF4-FFF2-40B4-BE49-F238E27FC236}">
                <a16:creationId xmlns:a16="http://schemas.microsoft.com/office/drawing/2014/main" id="{476F8507-A621-4914-A838-514DA696D7A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104904" y="1368425"/>
            <a:ext cx="3311524" cy="4751388"/>
          </a:xfrm>
          <a:prstGeom prst="rect">
            <a:avLst/>
          </a:prstGeom>
        </p:spPr>
        <p:txBody>
          <a:bodyPr lIns="0" rIns="0"/>
          <a:lstStyle>
            <a:lvl1pPr marL="179388" indent="-179388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2000" indent="-144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75" algn="l"/>
                <a:tab pos="1196975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4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5" name="Content 1">
            <a:extLst>
              <a:ext uri="{FF2B5EF4-FFF2-40B4-BE49-F238E27FC236}">
                <a16:creationId xmlns:a16="http://schemas.microsoft.com/office/drawing/2014/main" id="{75362F2F-0260-49B2-B6C0-97FCCD7BBA5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802" y="1368425"/>
            <a:ext cx="3311524" cy="4751388"/>
          </a:xfrm>
          <a:prstGeom prst="rect">
            <a:avLst/>
          </a:prstGeom>
        </p:spPr>
        <p:txBody>
          <a:bodyPr lIns="0" rIns="0"/>
          <a:lstStyle>
            <a:lvl1pPr marL="179388" indent="-179388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2000" indent="-144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75" algn="l"/>
                <a:tab pos="1196975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4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C8262736-C214-49E8-A502-B7556CA573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12" indent="0">
              <a:buFontTx/>
              <a:buNone/>
              <a:defRPr/>
            </a:lvl2pPr>
            <a:lvl3pPr marL="358775" indent="0">
              <a:buFontTx/>
              <a:buNone/>
              <a:defRPr/>
            </a:lvl3pPr>
            <a:lvl4pPr marL="534988" indent="0">
              <a:buFontTx/>
              <a:buNone/>
              <a:defRPr/>
            </a:lvl4pPr>
            <a:lvl5pPr marL="627063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31799" y="360000"/>
            <a:ext cx="699336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E248258C-AA78-2E42-297F-27D4CBE981AC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10080244" y="534947"/>
            <a:ext cx="1296000" cy="22539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5127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1494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Honeycomb">
            <a:extLst>
              <a:ext uri="{FF2B5EF4-FFF2-40B4-BE49-F238E27FC236}">
                <a16:creationId xmlns:a16="http://schemas.microsoft.com/office/drawing/2014/main" id="{E1377E81-60B1-440E-BB9F-109D6575D2E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16429" y="-272"/>
            <a:ext cx="4105275" cy="6480175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  <p:sp>
        <p:nvSpPr>
          <p:cNvPr id="15" name="Picture">
            <a:extLst>
              <a:ext uri="{FF2B5EF4-FFF2-40B4-BE49-F238E27FC236}">
                <a16:creationId xmlns:a16="http://schemas.microsoft.com/office/drawing/2014/main" id="{A3868821-F3D5-49B5-A0DF-07339955401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777164" y="1"/>
            <a:ext cx="3743325" cy="6480175"/>
          </a:xfrm>
          <a:prstGeom prst="rect">
            <a:avLst/>
          </a:prstGeom>
        </p:spPr>
        <p:txBody>
          <a:bodyPr/>
          <a:lstStyle>
            <a:lvl1pPr marL="0" indent="0">
              <a:buFont typeface="Wingdings" panose="05000000000000000000" pitchFamily="2" charset="2"/>
              <a:buNone/>
              <a:defRPr/>
            </a:lvl1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22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3" name="Subtitle"/>
          <p:cNvSpPr>
            <a:spLocks noGrp="1"/>
          </p:cNvSpPr>
          <p:nvPr>
            <p:ph type="subTitle" idx="1"/>
          </p:nvPr>
        </p:nvSpPr>
        <p:spPr>
          <a:xfrm>
            <a:off x="431801" y="3960168"/>
            <a:ext cx="6984465" cy="10082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i="0" u="none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575996" indent="0" algn="ctr">
              <a:buNone/>
              <a:defRPr sz="3528"/>
            </a:lvl2pPr>
            <a:lvl3pPr marL="1151993" indent="0" algn="ctr">
              <a:buNone/>
              <a:defRPr sz="3024"/>
            </a:lvl3pPr>
            <a:lvl4pPr marL="1727989" indent="0" algn="ctr">
              <a:buNone/>
              <a:defRPr sz="2520"/>
            </a:lvl4pPr>
            <a:lvl5pPr marL="2303984" indent="0" algn="ctr">
              <a:buNone/>
              <a:defRPr sz="2520"/>
            </a:lvl5pPr>
            <a:lvl6pPr marL="2879980" indent="0" algn="ctr">
              <a:buNone/>
              <a:defRPr sz="2520"/>
            </a:lvl6pPr>
            <a:lvl7pPr marL="3455976" indent="0" algn="ctr">
              <a:buNone/>
              <a:defRPr sz="2520"/>
            </a:lvl7pPr>
            <a:lvl8pPr marL="4031971" indent="0" algn="ctr">
              <a:buNone/>
              <a:defRPr sz="2520"/>
            </a:lvl8pPr>
            <a:lvl9pPr marL="4607966" indent="0" algn="ctr">
              <a:buNone/>
              <a:defRPr sz="252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431653" y="1799927"/>
            <a:ext cx="6984613" cy="1799654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baseline="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Logo">
            <a:extLst>
              <a:ext uri="{FF2B5EF4-FFF2-40B4-BE49-F238E27FC236}">
                <a16:creationId xmlns:a16="http://schemas.microsoft.com/office/drawing/2014/main" id="{F1281E47-AF20-4F3E-996E-76AECE19BD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1" y="0"/>
            <a:ext cx="1584000" cy="1296000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92535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Honeycomb transparent">
            <a:extLst>
              <a:ext uri="{FF2B5EF4-FFF2-40B4-BE49-F238E27FC236}">
                <a16:creationId xmlns:a16="http://schemas.microsoft.com/office/drawing/2014/main" id="{A91F78B4-735F-4C7E-8837-220B5A289E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6266" y="1"/>
            <a:ext cx="4104619" cy="6480175"/>
          </a:xfrm>
          <a:prstGeom prst="rect">
            <a:avLst/>
          </a:prstGeom>
        </p:spPr>
      </p:pic>
      <p:sp>
        <p:nvSpPr>
          <p:cNvPr id="10" name="Logo">
            <a:extLst>
              <a:ext uri="{FF2B5EF4-FFF2-40B4-BE49-F238E27FC236}">
                <a16:creationId xmlns:a16="http://schemas.microsoft.com/office/drawing/2014/main" id="{FE6E1EF4-9874-4529-8636-653CAC756A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1" y="0"/>
            <a:ext cx="1584000" cy="1296000"/>
          </a:xfrm>
          <a:prstGeom prst="rect">
            <a:avLst/>
          </a:pr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  <p:sp>
        <p:nvSpPr>
          <p:cNvPr id="22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FBE87C9B-922A-4FBA-B05D-E78B3B2AF8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801" y="3960039"/>
            <a:ext cx="6984465" cy="10082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i="0" u="none" spc="40" baseline="0">
                <a:solidFill>
                  <a:srgbClr val="FF0000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575996" indent="0" algn="ctr">
              <a:buNone/>
              <a:defRPr sz="3528"/>
            </a:lvl2pPr>
            <a:lvl3pPr marL="1151993" indent="0" algn="ctr">
              <a:buNone/>
              <a:defRPr sz="3024"/>
            </a:lvl3pPr>
            <a:lvl4pPr marL="1727989" indent="0" algn="ctr">
              <a:buNone/>
              <a:defRPr sz="2520"/>
            </a:lvl4pPr>
            <a:lvl5pPr marL="2303984" indent="0" algn="ctr">
              <a:buNone/>
              <a:defRPr sz="2520"/>
            </a:lvl5pPr>
            <a:lvl6pPr marL="2879980" indent="0" algn="ctr">
              <a:buNone/>
              <a:defRPr sz="2520"/>
            </a:lvl6pPr>
            <a:lvl7pPr marL="3455976" indent="0" algn="ctr">
              <a:buNone/>
              <a:defRPr sz="2520"/>
            </a:lvl7pPr>
            <a:lvl8pPr marL="4031971" indent="0" algn="ctr">
              <a:buNone/>
              <a:defRPr sz="2520"/>
            </a:lvl8pPr>
            <a:lvl9pPr marL="4607966" indent="0" algn="ctr">
              <a:buNone/>
              <a:defRPr sz="252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9D144522-C5D6-45E4-841B-D7BF7F5465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653" y="1799927"/>
            <a:ext cx="6984613" cy="180020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>
                <a:solidFill>
                  <a:srgbClr val="FF0000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45798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Honeycomb">
            <a:extLst>
              <a:ext uri="{FF2B5EF4-FFF2-40B4-BE49-F238E27FC236}">
                <a16:creationId xmlns:a16="http://schemas.microsoft.com/office/drawing/2014/main" id="{8B8D1C1E-9E02-42B8-8776-E3328661E73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16429" y="-272"/>
            <a:ext cx="4105275" cy="6480175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  <p:sp>
        <p:nvSpPr>
          <p:cNvPr id="36" name="Picture">
            <a:extLst>
              <a:ext uri="{FF2B5EF4-FFF2-40B4-BE49-F238E27FC236}">
                <a16:creationId xmlns:a16="http://schemas.microsoft.com/office/drawing/2014/main" id="{E75759D1-6B09-4041-B1D4-2CC0F0FAD4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777164" y="1"/>
            <a:ext cx="3743325" cy="6480175"/>
          </a:xfrm>
          <a:prstGeom prst="rect">
            <a:avLst/>
          </a:prstGeom>
        </p:spPr>
        <p:txBody>
          <a:bodyPr/>
          <a:lstStyle>
            <a:lvl1pPr marL="0" indent="0">
              <a:buFont typeface="Wingdings" panose="05000000000000000000" pitchFamily="2" charset="2"/>
              <a:buNone/>
              <a:defRPr/>
            </a:lvl1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12"/>
          </p:nvPr>
        </p:nvSpPr>
        <p:spPr/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0" name="Content"/>
          <p:cNvSpPr>
            <a:spLocks noGrp="1"/>
          </p:cNvSpPr>
          <p:nvPr>
            <p:ph idx="1" hasCustomPrompt="1"/>
          </p:nvPr>
        </p:nvSpPr>
        <p:spPr>
          <a:xfrm>
            <a:off x="431802" y="1368425"/>
            <a:ext cx="6984999" cy="4751388"/>
          </a:xfrm>
          <a:prstGeom prst="rect">
            <a:avLst/>
          </a:prstGeom>
        </p:spPr>
        <p:txBody>
          <a:bodyPr lIns="0" rIns="0"/>
          <a:lstStyle>
            <a:lvl1pPr marL="179385" indent="-179385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1995" indent="-143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3994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66" algn="l"/>
                <a:tab pos="1196961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3991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390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4" name="Subtitle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1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10" indent="0">
              <a:buFontTx/>
              <a:buNone/>
              <a:defRPr/>
            </a:lvl2pPr>
            <a:lvl3pPr marL="358771" indent="0">
              <a:buFontTx/>
              <a:buNone/>
              <a:defRPr/>
            </a:lvl3pPr>
            <a:lvl4pPr marL="534982" indent="0">
              <a:buFontTx/>
              <a:buNone/>
              <a:defRPr/>
            </a:lvl4pPr>
            <a:lvl5pPr marL="6270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BF7FFC9B-B100-4C13-9687-D5DEBE841DD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1" y="0"/>
            <a:ext cx="1584000" cy="1296000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7743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Honeycomb">
            <a:extLst>
              <a:ext uri="{FF2B5EF4-FFF2-40B4-BE49-F238E27FC236}">
                <a16:creationId xmlns:a16="http://schemas.microsoft.com/office/drawing/2014/main" id="{E1377E81-60B1-440E-BB9F-109D6575D2E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16429" y="-272"/>
            <a:ext cx="4105275" cy="6480175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  <p:sp>
        <p:nvSpPr>
          <p:cNvPr id="15" name="Picture">
            <a:extLst>
              <a:ext uri="{FF2B5EF4-FFF2-40B4-BE49-F238E27FC236}">
                <a16:creationId xmlns:a16="http://schemas.microsoft.com/office/drawing/2014/main" id="{A3868821-F3D5-49B5-A0DF-07339955401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777164" y="1"/>
            <a:ext cx="3743325" cy="6480175"/>
          </a:xfrm>
          <a:prstGeom prst="rect">
            <a:avLst/>
          </a:prstGeom>
        </p:spPr>
        <p:txBody>
          <a:bodyPr/>
          <a:lstStyle>
            <a:lvl1pPr marL="0" indent="0">
              <a:buFont typeface="Wingdings" panose="05000000000000000000" pitchFamily="2" charset="2"/>
              <a:buNone/>
              <a:defRPr/>
            </a:lvl1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22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3" name="Subtitle"/>
          <p:cNvSpPr>
            <a:spLocks noGrp="1"/>
          </p:cNvSpPr>
          <p:nvPr>
            <p:ph type="subTitle" idx="1"/>
          </p:nvPr>
        </p:nvSpPr>
        <p:spPr>
          <a:xfrm>
            <a:off x="431801" y="3960168"/>
            <a:ext cx="6984465" cy="10082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i="0" u="none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575996" indent="0" algn="ctr">
              <a:buNone/>
              <a:defRPr sz="3528"/>
            </a:lvl2pPr>
            <a:lvl3pPr marL="1151993" indent="0" algn="ctr">
              <a:buNone/>
              <a:defRPr sz="3024"/>
            </a:lvl3pPr>
            <a:lvl4pPr marL="1727989" indent="0" algn="ctr">
              <a:buNone/>
              <a:defRPr sz="2520"/>
            </a:lvl4pPr>
            <a:lvl5pPr marL="2303984" indent="0" algn="ctr">
              <a:buNone/>
              <a:defRPr sz="2520"/>
            </a:lvl5pPr>
            <a:lvl6pPr marL="2879980" indent="0" algn="ctr">
              <a:buNone/>
              <a:defRPr sz="2520"/>
            </a:lvl6pPr>
            <a:lvl7pPr marL="3455976" indent="0" algn="ctr">
              <a:buNone/>
              <a:defRPr sz="2520"/>
            </a:lvl7pPr>
            <a:lvl8pPr marL="4031971" indent="0" algn="ctr">
              <a:buNone/>
              <a:defRPr sz="2520"/>
            </a:lvl8pPr>
            <a:lvl9pPr marL="4607966" indent="0" algn="ctr">
              <a:buNone/>
              <a:defRPr sz="252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431653" y="1799927"/>
            <a:ext cx="6984613" cy="1799654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baseline="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Logo">
            <a:extLst>
              <a:ext uri="{FF2B5EF4-FFF2-40B4-BE49-F238E27FC236}">
                <a16:creationId xmlns:a16="http://schemas.microsoft.com/office/drawing/2014/main" id="{DCCAC102-F663-4057-A413-491C47FA97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1" y="0"/>
            <a:ext cx="1584000" cy="1296000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13215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6" name="Content 3">
            <a:extLst>
              <a:ext uri="{FF2B5EF4-FFF2-40B4-BE49-F238E27FC236}">
                <a16:creationId xmlns:a16="http://schemas.microsoft.com/office/drawing/2014/main" id="{7B1F4D6D-B029-41A9-805A-7456BD7CC951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76468" y="1367879"/>
            <a:ext cx="3311524" cy="4751388"/>
          </a:xfrm>
          <a:prstGeom prst="rect">
            <a:avLst/>
          </a:prstGeom>
        </p:spPr>
        <p:txBody>
          <a:bodyPr lIns="0" rIns="0"/>
          <a:lstStyle>
            <a:lvl1pPr marL="179388" indent="-179388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2000" indent="-144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75" algn="l"/>
                <a:tab pos="1196975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4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4" name="Content 2">
            <a:extLst>
              <a:ext uri="{FF2B5EF4-FFF2-40B4-BE49-F238E27FC236}">
                <a16:creationId xmlns:a16="http://schemas.microsoft.com/office/drawing/2014/main" id="{476F8507-A621-4914-A838-514DA696D7A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104904" y="1368425"/>
            <a:ext cx="3311524" cy="4751388"/>
          </a:xfrm>
          <a:prstGeom prst="rect">
            <a:avLst/>
          </a:prstGeom>
        </p:spPr>
        <p:txBody>
          <a:bodyPr lIns="0" rIns="0"/>
          <a:lstStyle>
            <a:lvl1pPr marL="179388" indent="-179388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2000" indent="-144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75" algn="l"/>
                <a:tab pos="1196975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4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5" name="Content 1">
            <a:extLst>
              <a:ext uri="{FF2B5EF4-FFF2-40B4-BE49-F238E27FC236}">
                <a16:creationId xmlns:a16="http://schemas.microsoft.com/office/drawing/2014/main" id="{75362F2F-0260-49B2-B6C0-97FCCD7BBA5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802" y="1368425"/>
            <a:ext cx="3311524" cy="4751388"/>
          </a:xfrm>
          <a:prstGeom prst="rect">
            <a:avLst/>
          </a:prstGeom>
        </p:spPr>
        <p:txBody>
          <a:bodyPr lIns="0" rIns="0"/>
          <a:lstStyle>
            <a:lvl1pPr marL="179388" indent="-179388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2000" indent="-144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75" algn="l"/>
                <a:tab pos="1196975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4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C8262736-C214-49E8-A502-B7556CA573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12" indent="0">
              <a:buFontTx/>
              <a:buNone/>
              <a:defRPr/>
            </a:lvl2pPr>
            <a:lvl3pPr marL="358775" indent="0">
              <a:buFontTx/>
              <a:buNone/>
              <a:defRPr/>
            </a:lvl3pPr>
            <a:lvl4pPr marL="534988" indent="0">
              <a:buFontTx/>
              <a:buNone/>
              <a:defRPr/>
            </a:lvl4pPr>
            <a:lvl5pPr marL="627063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31799" y="360000"/>
            <a:ext cx="699336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21504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Honeycomb">
            <a:extLst>
              <a:ext uri="{FF2B5EF4-FFF2-40B4-BE49-F238E27FC236}">
                <a16:creationId xmlns:a16="http://schemas.microsoft.com/office/drawing/2014/main" id="{B2D4E9DC-E60F-4D4D-AB52-B69D8736427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16429" y="-272"/>
            <a:ext cx="4105275" cy="6480175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  <p:sp>
        <p:nvSpPr>
          <p:cNvPr id="18" name="Picture">
            <a:extLst>
              <a:ext uri="{FF2B5EF4-FFF2-40B4-BE49-F238E27FC236}">
                <a16:creationId xmlns:a16="http://schemas.microsoft.com/office/drawing/2014/main" id="{457D3031-BE2A-4C40-B628-7AE340B5AFD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777164" y="1"/>
            <a:ext cx="3743325" cy="6480175"/>
          </a:xfrm>
          <a:prstGeom prst="rect">
            <a:avLst/>
          </a:prstGeom>
        </p:spPr>
        <p:txBody>
          <a:bodyPr/>
          <a:lstStyle>
            <a:lvl1pPr marL="0" indent="0">
              <a:buFont typeface="Wingdings" panose="05000000000000000000" pitchFamily="2" charset="2"/>
              <a:buNone/>
              <a:defRPr/>
            </a:lvl1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7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6" name="Content 2">
            <a:extLst>
              <a:ext uri="{FF2B5EF4-FFF2-40B4-BE49-F238E27FC236}">
                <a16:creationId xmlns:a16="http://schemas.microsoft.com/office/drawing/2014/main" id="{EF0E38CE-0554-41BF-9BCE-AB6D1842A9F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104904" y="1368425"/>
            <a:ext cx="3311524" cy="4751388"/>
          </a:xfrm>
          <a:prstGeom prst="rect">
            <a:avLst/>
          </a:prstGeom>
        </p:spPr>
        <p:txBody>
          <a:bodyPr lIns="0" rIns="0"/>
          <a:lstStyle>
            <a:lvl1pPr marL="179385" indent="-179385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1995" indent="-143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3994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66" algn="l"/>
                <a:tab pos="1196961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3991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390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4" name="Content 1">
            <a:extLst>
              <a:ext uri="{FF2B5EF4-FFF2-40B4-BE49-F238E27FC236}">
                <a16:creationId xmlns:a16="http://schemas.microsoft.com/office/drawing/2014/main" id="{CAD27D01-1A3D-457C-B0ED-CFD2B6D267C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802" y="1368425"/>
            <a:ext cx="3311524" cy="4751388"/>
          </a:xfrm>
          <a:prstGeom prst="rect">
            <a:avLst/>
          </a:prstGeom>
        </p:spPr>
        <p:txBody>
          <a:bodyPr lIns="0" rIns="0"/>
          <a:lstStyle>
            <a:lvl1pPr marL="179385" indent="-179385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1995" indent="-143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3994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66" algn="l"/>
                <a:tab pos="1196961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3991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390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BE8D11D-DF16-48BC-ABF1-52CECEBE26F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1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10" indent="0">
              <a:buFontTx/>
              <a:buNone/>
              <a:defRPr/>
            </a:lvl2pPr>
            <a:lvl3pPr marL="358771" indent="0">
              <a:buFontTx/>
              <a:buNone/>
              <a:defRPr/>
            </a:lvl3pPr>
            <a:lvl4pPr marL="534982" indent="0">
              <a:buFontTx/>
              <a:buNone/>
              <a:defRPr/>
            </a:lvl4pPr>
            <a:lvl5pPr marL="6270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0" name="Logo">
            <a:extLst>
              <a:ext uri="{FF2B5EF4-FFF2-40B4-BE49-F238E27FC236}">
                <a16:creationId xmlns:a16="http://schemas.microsoft.com/office/drawing/2014/main" id="{1489FE14-AC30-43F3-BC6D-57105E5665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1" y="0"/>
            <a:ext cx="1584000" cy="1296000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34319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Full widt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4" name="Content 2">
            <a:extLst>
              <a:ext uri="{FF2B5EF4-FFF2-40B4-BE49-F238E27FC236}">
                <a16:creationId xmlns:a16="http://schemas.microsoft.com/office/drawing/2014/main" id="{E5D74840-5DD7-4307-8351-65A929D506C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5939035" y="1368425"/>
            <a:ext cx="5149653" cy="4751388"/>
          </a:xfrm>
          <a:prstGeom prst="rect">
            <a:avLst/>
          </a:prstGeom>
        </p:spPr>
        <p:txBody>
          <a:bodyPr lIns="0" rIns="0"/>
          <a:lstStyle>
            <a:lvl1pPr marL="179385" indent="-179385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1995" indent="-143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3994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66" algn="l"/>
                <a:tab pos="1196961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3991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390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6" name="Content 1">
            <a:extLst>
              <a:ext uri="{FF2B5EF4-FFF2-40B4-BE49-F238E27FC236}">
                <a16:creationId xmlns:a16="http://schemas.microsoft.com/office/drawing/2014/main" id="{080E0F84-E16D-47E2-B580-9075BC18716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802" y="1368425"/>
            <a:ext cx="5148956" cy="4751388"/>
          </a:xfrm>
          <a:prstGeom prst="rect">
            <a:avLst/>
          </a:prstGeom>
        </p:spPr>
        <p:txBody>
          <a:bodyPr lIns="0" rIns="0"/>
          <a:lstStyle>
            <a:lvl1pPr marL="179385" indent="-179385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1995" indent="-143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3994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66" algn="l"/>
                <a:tab pos="1196961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3991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390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AADFAF9B-459A-4E97-8D73-FE5AC60F47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1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10" indent="0">
              <a:buFontTx/>
              <a:buNone/>
              <a:defRPr/>
            </a:lvl2pPr>
            <a:lvl3pPr marL="358771" indent="0">
              <a:buFontTx/>
              <a:buNone/>
              <a:defRPr/>
            </a:lvl3pPr>
            <a:lvl4pPr marL="534982" indent="0">
              <a:buFontTx/>
              <a:buNone/>
              <a:defRPr/>
            </a:lvl4pPr>
            <a:lvl5pPr marL="6270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0" name="Logo">
            <a:extLst>
              <a:ext uri="{FF2B5EF4-FFF2-40B4-BE49-F238E27FC236}">
                <a16:creationId xmlns:a16="http://schemas.microsoft.com/office/drawing/2014/main" id="{CFE7006E-D65E-4979-905F-A2B092D8A0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1" y="0"/>
            <a:ext cx="1584000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87434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6" name="Content 3">
            <a:extLst>
              <a:ext uri="{FF2B5EF4-FFF2-40B4-BE49-F238E27FC236}">
                <a16:creationId xmlns:a16="http://schemas.microsoft.com/office/drawing/2014/main" id="{7B1F4D6D-B029-41A9-805A-7456BD7CC951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76468" y="1367880"/>
            <a:ext cx="3311524" cy="4751388"/>
          </a:xfrm>
          <a:prstGeom prst="rect">
            <a:avLst/>
          </a:prstGeom>
        </p:spPr>
        <p:txBody>
          <a:bodyPr lIns="0" rIns="0"/>
          <a:lstStyle>
            <a:lvl1pPr marL="179385" indent="-179385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1995" indent="-143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3994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66" algn="l"/>
                <a:tab pos="1196961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3991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390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4" name="Content 2">
            <a:extLst>
              <a:ext uri="{FF2B5EF4-FFF2-40B4-BE49-F238E27FC236}">
                <a16:creationId xmlns:a16="http://schemas.microsoft.com/office/drawing/2014/main" id="{476F8507-A621-4914-A838-514DA696D7A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104904" y="1368425"/>
            <a:ext cx="3311524" cy="4751388"/>
          </a:xfrm>
          <a:prstGeom prst="rect">
            <a:avLst/>
          </a:prstGeom>
        </p:spPr>
        <p:txBody>
          <a:bodyPr lIns="0" rIns="0"/>
          <a:lstStyle>
            <a:lvl1pPr marL="179385" indent="-179385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1995" indent="-143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3994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66" algn="l"/>
                <a:tab pos="1196961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3991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390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5" name="Content 1">
            <a:extLst>
              <a:ext uri="{FF2B5EF4-FFF2-40B4-BE49-F238E27FC236}">
                <a16:creationId xmlns:a16="http://schemas.microsoft.com/office/drawing/2014/main" id="{75362F2F-0260-49B2-B6C0-97FCCD7BBA5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802" y="1368425"/>
            <a:ext cx="3311524" cy="4751388"/>
          </a:xfrm>
          <a:prstGeom prst="rect">
            <a:avLst/>
          </a:prstGeom>
        </p:spPr>
        <p:txBody>
          <a:bodyPr lIns="0" rIns="0"/>
          <a:lstStyle>
            <a:lvl1pPr marL="179385" indent="-179385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1995" indent="-143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3994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66" algn="l"/>
                <a:tab pos="1196961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3991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390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C8262736-C214-49E8-A502-B7556CA573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1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10" indent="0">
              <a:buFontTx/>
              <a:buNone/>
              <a:defRPr/>
            </a:lvl2pPr>
            <a:lvl3pPr marL="358771" indent="0">
              <a:buFontTx/>
              <a:buNone/>
              <a:defRPr/>
            </a:lvl3pPr>
            <a:lvl4pPr marL="534982" indent="0">
              <a:buFontTx/>
              <a:buNone/>
              <a:defRPr/>
            </a:lvl4pPr>
            <a:lvl5pPr marL="6270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31799" y="360000"/>
            <a:ext cx="699336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0" name="Logo">
            <a:extLst>
              <a:ext uri="{FF2B5EF4-FFF2-40B4-BE49-F238E27FC236}">
                <a16:creationId xmlns:a16="http://schemas.microsoft.com/office/drawing/2014/main" id="{166697BB-C1D6-4FD6-8642-291F43789B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1" y="0"/>
            <a:ext cx="1584000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20268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3E0B94D5-4D9A-4335-8F90-4EFAC1A276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1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10" indent="0">
              <a:buFontTx/>
              <a:buNone/>
              <a:defRPr/>
            </a:lvl2pPr>
            <a:lvl3pPr marL="358771" indent="0">
              <a:buFontTx/>
              <a:buNone/>
              <a:defRPr/>
            </a:lvl3pPr>
            <a:lvl4pPr marL="534982" indent="0">
              <a:buFontTx/>
              <a:buNone/>
              <a:defRPr/>
            </a:lvl4pPr>
            <a:lvl5pPr marL="6270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B6565C17-7B8F-48C6-96A5-997EC37AE4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1" y="0"/>
            <a:ext cx="1584000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64907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D55A3F2D-B918-45DA-B77D-6A84AF0807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1" y="0"/>
            <a:ext cx="1584000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26526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Honeycomb transparent">
            <a:extLst>
              <a:ext uri="{FF2B5EF4-FFF2-40B4-BE49-F238E27FC236}">
                <a16:creationId xmlns:a16="http://schemas.microsoft.com/office/drawing/2014/main" id="{8C10F077-83A0-4E52-BDAF-C6B3F510E0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6266" y="1"/>
            <a:ext cx="4104619" cy="6480175"/>
          </a:xfrm>
          <a:prstGeom prst="rect">
            <a:avLst/>
          </a:prstGeom>
        </p:spPr>
      </p:pic>
      <p:sp>
        <p:nvSpPr>
          <p:cNvPr id="6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1D0B97C7-EAA8-494C-8B6A-A62ABDCDAF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1" y="0"/>
            <a:ext cx="1584000" cy="1296000"/>
          </a:xfrm>
          <a:prstGeom prst="rect">
            <a:avLst/>
          </a:pr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62432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40061" y="1060529"/>
            <a:ext cx="8640366" cy="2256061"/>
          </a:xfrm>
        </p:spPr>
        <p:txBody>
          <a:bodyPr anchor="b"/>
          <a:lstStyle>
            <a:lvl1pPr algn="ctr">
              <a:defRPr sz="566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61" y="3403592"/>
            <a:ext cx="8640366" cy="1564542"/>
          </a:xfrm>
        </p:spPr>
        <p:txBody>
          <a:bodyPr/>
          <a:lstStyle>
            <a:lvl1pPr marL="0" indent="0" algn="ctr">
              <a:buNone/>
              <a:defRPr sz="2268"/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BF9AB4-2A49-4806-9005-7D8FFFED7AB4}" type="datetimeFigureOut">
              <a:rPr lang="nl-NL" smtClean="0"/>
              <a:t>21-6-2024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154965-77C4-46F2-B5EA-632ABF3C97D5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233263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6" name="Content 3">
            <a:extLst>
              <a:ext uri="{FF2B5EF4-FFF2-40B4-BE49-F238E27FC236}">
                <a16:creationId xmlns:a16="http://schemas.microsoft.com/office/drawing/2014/main" id="{7B1F4D6D-B029-41A9-805A-7456BD7CC951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76468" y="1367880"/>
            <a:ext cx="3311524" cy="4751388"/>
          </a:xfrm>
          <a:prstGeom prst="rect">
            <a:avLst/>
          </a:prstGeom>
        </p:spPr>
        <p:txBody>
          <a:bodyPr lIns="0" rIns="0"/>
          <a:lstStyle>
            <a:lvl1pPr marL="179385" indent="-179385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1995" indent="-143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3994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66" algn="l"/>
                <a:tab pos="1196961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3991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390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4" name="Content 2">
            <a:extLst>
              <a:ext uri="{FF2B5EF4-FFF2-40B4-BE49-F238E27FC236}">
                <a16:creationId xmlns:a16="http://schemas.microsoft.com/office/drawing/2014/main" id="{476F8507-A621-4914-A838-514DA696D7A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104904" y="1368425"/>
            <a:ext cx="3311524" cy="4751388"/>
          </a:xfrm>
          <a:prstGeom prst="rect">
            <a:avLst/>
          </a:prstGeom>
        </p:spPr>
        <p:txBody>
          <a:bodyPr lIns="0" rIns="0"/>
          <a:lstStyle>
            <a:lvl1pPr marL="179385" indent="-179385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1995" indent="-143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3994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66" algn="l"/>
                <a:tab pos="1196961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3991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390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5" name="Content 1">
            <a:extLst>
              <a:ext uri="{FF2B5EF4-FFF2-40B4-BE49-F238E27FC236}">
                <a16:creationId xmlns:a16="http://schemas.microsoft.com/office/drawing/2014/main" id="{75362F2F-0260-49B2-B6C0-97FCCD7BBA5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802" y="1368425"/>
            <a:ext cx="3311524" cy="4751388"/>
          </a:xfrm>
          <a:prstGeom prst="rect">
            <a:avLst/>
          </a:prstGeom>
        </p:spPr>
        <p:txBody>
          <a:bodyPr lIns="0" rIns="0"/>
          <a:lstStyle>
            <a:lvl1pPr marL="179385" indent="-179385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1995" indent="-143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3994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66" algn="l"/>
                <a:tab pos="1196961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3991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390" indent="-10799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C8262736-C214-49E8-A502-B7556CA573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1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10" indent="0">
              <a:buFontTx/>
              <a:buNone/>
              <a:defRPr/>
            </a:lvl2pPr>
            <a:lvl3pPr marL="358771" indent="0">
              <a:buFontTx/>
              <a:buNone/>
              <a:defRPr/>
            </a:lvl3pPr>
            <a:lvl4pPr marL="534982" indent="0">
              <a:buFontTx/>
              <a:buNone/>
              <a:defRPr/>
            </a:lvl4pPr>
            <a:lvl5pPr marL="6270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31799" y="360000"/>
            <a:ext cx="699336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E248258C-AA78-2E42-297F-27D4CBE981AC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10080244" y="534947"/>
            <a:ext cx="1296000" cy="22539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08091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3E0B94D5-4D9A-4335-8F90-4EFAC1A276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1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10" indent="0">
              <a:buFontTx/>
              <a:buNone/>
              <a:defRPr/>
            </a:lvl2pPr>
            <a:lvl3pPr marL="358771" indent="0">
              <a:buFontTx/>
              <a:buNone/>
              <a:defRPr/>
            </a:lvl3pPr>
            <a:lvl4pPr marL="534982" indent="0">
              <a:buFontTx/>
              <a:buNone/>
              <a:defRPr/>
            </a:lvl4pPr>
            <a:lvl5pPr marL="6270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B6565C17-7B8F-48C6-96A5-997EC37AE4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1" y="0"/>
            <a:ext cx="1584000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64907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3E0B94D5-4D9A-4335-8F90-4EFAC1A276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1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10" indent="0">
              <a:buFontTx/>
              <a:buNone/>
              <a:defRPr/>
            </a:lvl2pPr>
            <a:lvl3pPr marL="358771" indent="0">
              <a:buFontTx/>
              <a:buNone/>
              <a:defRPr/>
            </a:lvl3pPr>
            <a:lvl4pPr marL="534982" indent="0">
              <a:buFontTx/>
              <a:buNone/>
              <a:defRPr/>
            </a:lvl4pPr>
            <a:lvl5pPr marL="6270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B6565C17-7B8F-48C6-96A5-997EC37AE4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1" y="0"/>
            <a:ext cx="1584000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64907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Honeycomb">
            <a:extLst>
              <a:ext uri="{FF2B5EF4-FFF2-40B4-BE49-F238E27FC236}">
                <a16:creationId xmlns:a16="http://schemas.microsoft.com/office/drawing/2014/main" id="{E1377E81-60B1-440E-BB9F-109D6575D2E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16428" y="-273"/>
            <a:ext cx="4105275" cy="6480175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  <p:sp>
        <p:nvSpPr>
          <p:cNvPr id="15" name="Picture">
            <a:extLst>
              <a:ext uri="{FF2B5EF4-FFF2-40B4-BE49-F238E27FC236}">
                <a16:creationId xmlns:a16="http://schemas.microsoft.com/office/drawing/2014/main" id="{A3868821-F3D5-49B5-A0DF-07339955401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777163" y="0"/>
            <a:ext cx="3743325" cy="6480175"/>
          </a:xfrm>
          <a:prstGeom prst="rect">
            <a:avLst/>
          </a:prstGeom>
        </p:spPr>
        <p:txBody>
          <a:bodyPr/>
          <a:lstStyle>
            <a:lvl1pPr marL="0" indent="0">
              <a:buFont typeface="Wingdings" panose="05000000000000000000" pitchFamily="2" charset="2"/>
              <a:buNone/>
              <a:defRPr/>
            </a:lvl1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22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3" name="Subtitle"/>
          <p:cNvSpPr>
            <a:spLocks noGrp="1"/>
          </p:cNvSpPr>
          <p:nvPr>
            <p:ph type="subTitle" idx="1"/>
          </p:nvPr>
        </p:nvSpPr>
        <p:spPr>
          <a:xfrm>
            <a:off x="431800" y="3960167"/>
            <a:ext cx="6984465" cy="10082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i="0" u="none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576003" indent="0" algn="ctr">
              <a:buNone/>
              <a:defRPr sz="3528"/>
            </a:lvl2pPr>
            <a:lvl3pPr marL="1152007" indent="0" algn="ctr">
              <a:buNone/>
              <a:defRPr sz="3024"/>
            </a:lvl3pPr>
            <a:lvl4pPr marL="1728010" indent="0" algn="ctr">
              <a:buNone/>
              <a:defRPr sz="2520"/>
            </a:lvl4pPr>
            <a:lvl5pPr marL="2304012" indent="0" algn="ctr">
              <a:buNone/>
              <a:defRPr sz="2520"/>
            </a:lvl5pPr>
            <a:lvl6pPr marL="2880015" indent="0" algn="ctr">
              <a:buNone/>
              <a:defRPr sz="2520"/>
            </a:lvl6pPr>
            <a:lvl7pPr marL="3456019" indent="0" algn="ctr">
              <a:buNone/>
              <a:defRPr sz="2520"/>
            </a:lvl7pPr>
            <a:lvl8pPr marL="4032021" indent="0" algn="ctr">
              <a:buNone/>
              <a:defRPr sz="2520"/>
            </a:lvl8pPr>
            <a:lvl9pPr marL="4608023" indent="0" algn="ctr">
              <a:buNone/>
              <a:defRPr sz="252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431652" y="1799927"/>
            <a:ext cx="6984613" cy="1799654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baseline="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Logo">
            <a:extLst>
              <a:ext uri="{FF2B5EF4-FFF2-40B4-BE49-F238E27FC236}">
                <a16:creationId xmlns:a16="http://schemas.microsoft.com/office/drawing/2014/main" id="{F1281E47-AF20-4F3E-996E-76AECE19BD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0" y="0"/>
            <a:ext cx="1584000" cy="1296000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11202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3E0B94D5-4D9A-4335-8F90-4EFAC1A276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1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10" indent="0">
              <a:buFontTx/>
              <a:buNone/>
              <a:defRPr/>
            </a:lvl2pPr>
            <a:lvl3pPr marL="358771" indent="0">
              <a:buFontTx/>
              <a:buNone/>
              <a:defRPr/>
            </a:lvl3pPr>
            <a:lvl4pPr marL="534982" indent="0">
              <a:buFontTx/>
              <a:buNone/>
              <a:defRPr/>
            </a:lvl4pPr>
            <a:lvl5pPr marL="6270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B6565C17-7B8F-48C6-96A5-997EC37AE4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1" y="0"/>
            <a:ext cx="1584000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64907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3E0B94D5-4D9A-4335-8F90-4EFAC1A276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1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10" indent="0">
              <a:buFontTx/>
              <a:buNone/>
              <a:defRPr/>
            </a:lvl2pPr>
            <a:lvl3pPr marL="358771" indent="0">
              <a:buFontTx/>
              <a:buNone/>
              <a:defRPr/>
            </a:lvl3pPr>
            <a:lvl4pPr marL="534982" indent="0">
              <a:buFontTx/>
              <a:buNone/>
              <a:defRPr/>
            </a:lvl4pPr>
            <a:lvl5pPr marL="6270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B6565C17-7B8F-48C6-96A5-997EC37AE4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1" y="0"/>
            <a:ext cx="1584000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64907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3E0B94D5-4D9A-4335-8F90-4EFAC1A276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1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10" indent="0">
              <a:buFontTx/>
              <a:buNone/>
              <a:defRPr/>
            </a:lvl2pPr>
            <a:lvl3pPr marL="358771" indent="0">
              <a:buFontTx/>
              <a:buNone/>
              <a:defRPr/>
            </a:lvl3pPr>
            <a:lvl4pPr marL="534982" indent="0">
              <a:buFontTx/>
              <a:buNone/>
              <a:defRPr/>
            </a:lvl4pPr>
            <a:lvl5pPr marL="6270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B6565C17-7B8F-48C6-96A5-997EC37AE4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1" y="0"/>
            <a:ext cx="1584000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64907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3E0B94D5-4D9A-4335-8F90-4EFAC1A276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1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10" indent="0">
              <a:buFontTx/>
              <a:buNone/>
              <a:defRPr/>
            </a:lvl2pPr>
            <a:lvl3pPr marL="358771" indent="0">
              <a:buFontTx/>
              <a:buNone/>
              <a:defRPr/>
            </a:lvl3pPr>
            <a:lvl4pPr marL="534982" indent="0">
              <a:buFontTx/>
              <a:buNone/>
              <a:defRPr/>
            </a:lvl4pPr>
            <a:lvl5pPr marL="6270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B6565C17-7B8F-48C6-96A5-997EC37AE4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1" y="0"/>
            <a:ext cx="1584000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64907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3E0B94D5-4D9A-4335-8F90-4EFAC1A276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1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10" indent="0">
              <a:buFontTx/>
              <a:buNone/>
              <a:defRPr/>
            </a:lvl2pPr>
            <a:lvl3pPr marL="358771" indent="0">
              <a:buFontTx/>
              <a:buNone/>
              <a:defRPr/>
            </a:lvl3pPr>
            <a:lvl4pPr marL="534982" indent="0">
              <a:buFontTx/>
              <a:buNone/>
              <a:defRPr/>
            </a:lvl4pPr>
            <a:lvl5pPr marL="6270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B6565C17-7B8F-48C6-96A5-997EC37AE4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1" y="0"/>
            <a:ext cx="1584000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64907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3E0B94D5-4D9A-4335-8F90-4EFAC1A276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1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10" indent="0">
              <a:buFontTx/>
              <a:buNone/>
              <a:defRPr/>
            </a:lvl2pPr>
            <a:lvl3pPr marL="358771" indent="0">
              <a:buFontTx/>
              <a:buNone/>
              <a:defRPr/>
            </a:lvl3pPr>
            <a:lvl4pPr marL="534982" indent="0">
              <a:buFontTx/>
              <a:buNone/>
              <a:defRPr/>
            </a:lvl4pPr>
            <a:lvl5pPr marL="6270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B6565C17-7B8F-48C6-96A5-997EC37AE4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1" y="0"/>
            <a:ext cx="1584000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64907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3E0B94D5-4D9A-4335-8F90-4EFAC1A276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1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10" indent="0">
              <a:buFontTx/>
              <a:buNone/>
              <a:defRPr/>
            </a:lvl2pPr>
            <a:lvl3pPr marL="358771" indent="0">
              <a:buFontTx/>
              <a:buNone/>
              <a:defRPr/>
            </a:lvl3pPr>
            <a:lvl4pPr marL="534982" indent="0">
              <a:buFontTx/>
              <a:buNone/>
              <a:defRPr/>
            </a:lvl4pPr>
            <a:lvl5pPr marL="6270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B6565C17-7B8F-48C6-96A5-997EC37AE4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1" y="0"/>
            <a:ext cx="1584000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64907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3E0B94D5-4D9A-4335-8F90-4EFAC1A276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1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10" indent="0">
              <a:buFontTx/>
              <a:buNone/>
              <a:defRPr/>
            </a:lvl2pPr>
            <a:lvl3pPr marL="358771" indent="0">
              <a:buFontTx/>
              <a:buNone/>
              <a:defRPr/>
            </a:lvl3pPr>
            <a:lvl4pPr marL="534982" indent="0">
              <a:buFontTx/>
              <a:buNone/>
              <a:defRPr/>
            </a:lvl4pPr>
            <a:lvl5pPr marL="6270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B6565C17-7B8F-48C6-96A5-997EC37AE4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1" y="0"/>
            <a:ext cx="1584000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64907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3E0B94D5-4D9A-4335-8F90-4EFAC1A276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1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10" indent="0">
              <a:buFontTx/>
              <a:buNone/>
              <a:defRPr/>
            </a:lvl2pPr>
            <a:lvl3pPr marL="358771" indent="0">
              <a:buFontTx/>
              <a:buNone/>
              <a:defRPr/>
            </a:lvl3pPr>
            <a:lvl4pPr marL="534982" indent="0">
              <a:buFontTx/>
              <a:buNone/>
              <a:defRPr/>
            </a:lvl4pPr>
            <a:lvl5pPr marL="6270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B6565C17-7B8F-48C6-96A5-997EC37AE4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1" y="0"/>
            <a:ext cx="1584000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64907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3E0B94D5-4D9A-4335-8F90-4EFAC1A276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1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10" indent="0">
              <a:buFontTx/>
              <a:buNone/>
              <a:defRPr/>
            </a:lvl2pPr>
            <a:lvl3pPr marL="358771" indent="0">
              <a:buFontTx/>
              <a:buNone/>
              <a:defRPr/>
            </a:lvl3pPr>
            <a:lvl4pPr marL="534982" indent="0">
              <a:buFontTx/>
              <a:buNone/>
              <a:defRPr/>
            </a:lvl4pPr>
            <a:lvl5pPr marL="6270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B6565C17-7B8F-48C6-96A5-997EC37AE4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1" y="0"/>
            <a:ext cx="1584000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64907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Honeycomb transparent">
            <a:extLst>
              <a:ext uri="{FF2B5EF4-FFF2-40B4-BE49-F238E27FC236}">
                <a16:creationId xmlns:a16="http://schemas.microsoft.com/office/drawing/2014/main" id="{A91F78B4-735F-4C7E-8837-220B5A289E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6265" y="0"/>
            <a:ext cx="4104619" cy="6480175"/>
          </a:xfrm>
          <a:prstGeom prst="rect">
            <a:avLst/>
          </a:prstGeom>
        </p:spPr>
      </p:pic>
      <p:sp>
        <p:nvSpPr>
          <p:cNvPr id="10" name="Logo">
            <a:extLst>
              <a:ext uri="{FF2B5EF4-FFF2-40B4-BE49-F238E27FC236}">
                <a16:creationId xmlns:a16="http://schemas.microsoft.com/office/drawing/2014/main" id="{FE6E1EF4-9874-4529-8636-653CAC756A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0" y="0"/>
            <a:ext cx="1584000" cy="1296000"/>
          </a:xfrm>
          <a:prstGeom prst="rect">
            <a:avLst/>
          </a:pr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  <p:sp>
        <p:nvSpPr>
          <p:cNvPr id="22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FBE87C9B-922A-4FBA-B05D-E78B3B2AF8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800" y="3960039"/>
            <a:ext cx="6984465" cy="10082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i="0" u="none" spc="40" baseline="0">
                <a:solidFill>
                  <a:srgbClr val="FF0000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576003" indent="0" algn="ctr">
              <a:buNone/>
              <a:defRPr sz="3528"/>
            </a:lvl2pPr>
            <a:lvl3pPr marL="1152007" indent="0" algn="ctr">
              <a:buNone/>
              <a:defRPr sz="3024"/>
            </a:lvl3pPr>
            <a:lvl4pPr marL="1728010" indent="0" algn="ctr">
              <a:buNone/>
              <a:defRPr sz="2520"/>
            </a:lvl4pPr>
            <a:lvl5pPr marL="2304012" indent="0" algn="ctr">
              <a:buNone/>
              <a:defRPr sz="2520"/>
            </a:lvl5pPr>
            <a:lvl6pPr marL="2880015" indent="0" algn="ctr">
              <a:buNone/>
              <a:defRPr sz="2520"/>
            </a:lvl6pPr>
            <a:lvl7pPr marL="3456019" indent="0" algn="ctr">
              <a:buNone/>
              <a:defRPr sz="2520"/>
            </a:lvl7pPr>
            <a:lvl8pPr marL="4032021" indent="0" algn="ctr">
              <a:buNone/>
              <a:defRPr sz="2520"/>
            </a:lvl8pPr>
            <a:lvl9pPr marL="4608023" indent="0" algn="ctr">
              <a:buNone/>
              <a:defRPr sz="252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9D144522-C5D6-45E4-841B-D7BF7F5465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652" y="1799927"/>
            <a:ext cx="6984613" cy="180020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>
                <a:solidFill>
                  <a:srgbClr val="FF0000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3399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3E0B94D5-4D9A-4335-8F90-4EFAC1A276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1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10" indent="0">
              <a:buFontTx/>
              <a:buNone/>
              <a:defRPr/>
            </a:lvl2pPr>
            <a:lvl3pPr marL="358771" indent="0">
              <a:buFontTx/>
              <a:buNone/>
              <a:defRPr/>
            </a:lvl3pPr>
            <a:lvl4pPr marL="534982" indent="0">
              <a:buFontTx/>
              <a:buNone/>
              <a:defRPr/>
            </a:lvl4pPr>
            <a:lvl5pPr marL="6270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B6565C17-7B8F-48C6-96A5-997EC37AE4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1" y="0"/>
            <a:ext cx="1584000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64907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3E0B94D5-4D9A-4335-8F90-4EFAC1A276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1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10" indent="0">
              <a:buFontTx/>
              <a:buNone/>
              <a:defRPr/>
            </a:lvl2pPr>
            <a:lvl3pPr marL="358771" indent="0">
              <a:buFontTx/>
              <a:buNone/>
              <a:defRPr/>
            </a:lvl3pPr>
            <a:lvl4pPr marL="534982" indent="0">
              <a:buFontTx/>
              <a:buNone/>
              <a:defRPr/>
            </a:lvl4pPr>
            <a:lvl5pPr marL="6270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B6565C17-7B8F-48C6-96A5-997EC37AE4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1" y="0"/>
            <a:ext cx="1584000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64907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40061" y="1060529"/>
            <a:ext cx="8640366" cy="2256061"/>
          </a:xfrm>
        </p:spPr>
        <p:txBody>
          <a:bodyPr anchor="b"/>
          <a:lstStyle>
            <a:lvl1pPr algn="ctr">
              <a:defRPr sz="566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61" y="3403592"/>
            <a:ext cx="8640366" cy="1564542"/>
          </a:xfrm>
        </p:spPr>
        <p:txBody>
          <a:bodyPr/>
          <a:lstStyle>
            <a:lvl1pPr marL="0" indent="0" algn="ctr">
              <a:buNone/>
              <a:defRPr sz="2268"/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BF9AB4-2A49-4806-9005-7D8FFFED7AB4}" type="datetimeFigureOut">
              <a:rPr lang="nl-NL" smtClean="0"/>
              <a:t>21-6-2024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154965-77C4-46F2-B5EA-632ABF3C97D5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2332635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21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903516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Honeycomb">
            <a:extLst>
              <a:ext uri="{FF2B5EF4-FFF2-40B4-BE49-F238E27FC236}">
                <a16:creationId xmlns:a16="http://schemas.microsoft.com/office/drawing/2014/main" id="{E1377E81-60B1-440E-BB9F-109D6575D2E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16430" y="-271"/>
            <a:ext cx="4105275" cy="6480175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  <p:sp>
        <p:nvSpPr>
          <p:cNvPr id="15" name="Picture">
            <a:extLst>
              <a:ext uri="{FF2B5EF4-FFF2-40B4-BE49-F238E27FC236}">
                <a16:creationId xmlns:a16="http://schemas.microsoft.com/office/drawing/2014/main" id="{A3868821-F3D5-49B5-A0DF-07339955401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777165" y="2"/>
            <a:ext cx="3743325" cy="6480175"/>
          </a:xfrm>
          <a:prstGeom prst="rect">
            <a:avLst/>
          </a:prstGeom>
        </p:spPr>
        <p:txBody>
          <a:bodyPr/>
          <a:lstStyle>
            <a:lvl1pPr marL="0" indent="0">
              <a:buFont typeface="Wingdings" panose="05000000000000000000" pitchFamily="2" charset="2"/>
              <a:buNone/>
              <a:defRPr/>
            </a:lvl1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22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3" name="Subtitle"/>
          <p:cNvSpPr>
            <a:spLocks noGrp="1"/>
          </p:cNvSpPr>
          <p:nvPr>
            <p:ph type="subTitle" idx="1"/>
          </p:nvPr>
        </p:nvSpPr>
        <p:spPr>
          <a:xfrm>
            <a:off x="431802" y="3960169"/>
            <a:ext cx="6984465" cy="10082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i="0" u="none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575989" indent="0" algn="ctr">
              <a:buNone/>
              <a:defRPr sz="3528"/>
            </a:lvl2pPr>
            <a:lvl3pPr marL="1151979" indent="0" algn="ctr">
              <a:buNone/>
              <a:defRPr sz="3024"/>
            </a:lvl3pPr>
            <a:lvl4pPr marL="1727968" indent="0" algn="ctr">
              <a:buNone/>
              <a:defRPr sz="2520"/>
            </a:lvl4pPr>
            <a:lvl5pPr marL="2303955" indent="0" algn="ctr">
              <a:buNone/>
              <a:defRPr sz="2520"/>
            </a:lvl5pPr>
            <a:lvl6pPr marL="2879945" indent="0" algn="ctr">
              <a:buNone/>
              <a:defRPr sz="2520"/>
            </a:lvl6pPr>
            <a:lvl7pPr marL="3455933" indent="0" algn="ctr">
              <a:buNone/>
              <a:defRPr sz="2520"/>
            </a:lvl7pPr>
            <a:lvl8pPr marL="4031921" indent="0" algn="ctr">
              <a:buNone/>
              <a:defRPr sz="2520"/>
            </a:lvl8pPr>
            <a:lvl9pPr marL="4607909" indent="0" algn="ctr">
              <a:buNone/>
              <a:defRPr sz="252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431654" y="1799927"/>
            <a:ext cx="6984613" cy="1799654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baseline="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Logo">
            <a:extLst>
              <a:ext uri="{FF2B5EF4-FFF2-40B4-BE49-F238E27FC236}">
                <a16:creationId xmlns:a16="http://schemas.microsoft.com/office/drawing/2014/main" id="{F1281E47-AF20-4F3E-996E-76AECE19BD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2" y="0"/>
            <a:ext cx="1584000" cy="1296000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1682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Honeycomb transparent">
            <a:extLst>
              <a:ext uri="{FF2B5EF4-FFF2-40B4-BE49-F238E27FC236}">
                <a16:creationId xmlns:a16="http://schemas.microsoft.com/office/drawing/2014/main" id="{A91F78B4-735F-4C7E-8837-220B5A289E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6267" y="2"/>
            <a:ext cx="4104619" cy="6480175"/>
          </a:xfrm>
          <a:prstGeom prst="rect">
            <a:avLst/>
          </a:prstGeom>
        </p:spPr>
      </p:pic>
      <p:sp>
        <p:nvSpPr>
          <p:cNvPr id="10" name="Logo">
            <a:extLst>
              <a:ext uri="{FF2B5EF4-FFF2-40B4-BE49-F238E27FC236}">
                <a16:creationId xmlns:a16="http://schemas.microsoft.com/office/drawing/2014/main" id="{FE6E1EF4-9874-4529-8636-653CAC756A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2" y="0"/>
            <a:ext cx="1584000" cy="1296000"/>
          </a:xfrm>
          <a:prstGeom prst="rect">
            <a:avLst/>
          </a:pr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  <p:sp>
        <p:nvSpPr>
          <p:cNvPr id="22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FBE87C9B-922A-4FBA-B05D-E78B3B2AF8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802" y="3960039"/>
            <a:ext cx="6984465" cy="10082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i="0" u="none" spc="40" baseline="0">
                <a:solidFill>
                  <a:srgbClr val="FF0000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575989" indent="0" algn="ctr">
              <a:buNone/>
              <a:defRPr sz="3528"/>
            </a:lvl2pPr>
            <a:lvl3pPr marL="1151979" indent="0" algn="ctr">
              <a:buNone/>
              <a:defRPr sz="3024"/>
            </a:lvl3pPr>
            <a:lvl4pPr marL="1727968" indent="0" algn="ctr">
              <a:buNone/>
              <a:defRPr sz="2520"/>
            </a:lvl4pPr>
            <a:lvl5pPr marL="2303955" indent="0" algn="ctr">
              <a:buNone/>
              <a:defRPr sz="2520"/>
            </a:lvl5pPr>
            <a:lvl6pPr marL="2879945" indent="0" algn="ctr">
              <a:buNone/>
              <a:defRPr sz="2520"/>
            </a:lvl6pPr>
            <a:lvl7pPr marL="3455933" indent="0" algn="ctr">
              <a:buNone/>
              <a:defRPr sz="2520"/>
            </a:lvl7pPr>
            <a:lvl8pPr marL="4031921" indent="0" algn="ctr">
              <a:buNone/>
              <a:defRPr sz="2520"/>
            </a:lvl8pPr>
            <a:lvl9pPr marL="4607909" indent="0" algn="ctr">
              <a:buNone/>
              <a:defRPr sz="252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9D144522-C5D6-45E4-841B-D7BF7F5465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654" y="1799927"/>
            <a:ext cx="6984613" cy="180020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dirty="0">
                <a:solidFill>
                  <a:srgbClr val="FF0000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7994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Honeycomb">
            <a:extLst>
              <a:ext uri="{FF2B5EF4-FFF2-40B4-BE49-F238E27FC236}">
                <a16:creationId xmlns:a16="http://schemas.microsoft.com/office/drawing/2014/main" id="{8B8D1C1E-9E02-42B8-8776-E3328661E73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16430" y="-271"/>
            <a:ext cx="4105275" cy="6480175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  <p:sp>
        <p:nvSpPr>
          <p:cNvPr id="36" name="Picture">
            <a:extLst>
              <a:ext uri="{FF2B5EF4-FFF2-40B4-BE49-F238E27FC236}">
                <a16:creationId xmlns:a16="http://schemas.microsoft.com/office/drawing/2014/main" id="{E75759D1-6B09-4041-B1D4-2CC0F0FAD4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777165" y="2"/>
            <a:ext cx="3743325" cy="6480175"/>
          </a:xfrm>
          <a:prstGeom prst="rect">
            <a:avLst/>
          </a:prstGeom>
        </p:spPr>
        <p:txBody>
          <a:bodyPr/>
          <a:lstStyle>
            <a:lvl1pPr marL="0" indent="0">
              <a:buFont typeface="Wingdings" panose="05000000000000000000" pitchFamily="2" charset="2"/>
              <a:buNone/>
              <a:defRPr/>
            </a:lvl1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12"/>
          </p:nvPr>
        </p:nvSpPr>
        <p:spPr/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0" name="Content"/>
          <p:cNvSpPr>
            <a:spLocks noGrp="1"/>
          </p:cNvSpPr>
          <p:nvPr>
            <p:ph idx="1" hasCustomPrompt="1"/>
          </p:nvPr>
        </p:nvSpPr>
        <p:spPr>
          <a:xfrm>
            <a:off x="431803" y="1368425"/>
            <a:ext cx="6984999" cy="4751388"/>
          </a:xfrm>
          <a:prstGeom prst="rect">
            <a:avLst/>
          </a:prstGeom>
        </p:spPr>
        <p:txBody>
          <a:bodyPr lIns="0" rIns="0"/>
          <a:lstStyle>
            <a:lvl1pPr marL="179383" indent="-179383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1989" indent="-143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3988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58" algn="l"/>
                <a:tab pos="1196946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3983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379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4" name="Subtitle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2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08" indent="0">
              <a:buFontTx/>
              <a:buNone/>
              <a:defRPr/>
            </a:lvl2pPr>
            <a:lvl3pPr marL="358766" indent="0">
              <a:buFontTx/>
              <a:buNone/>
              <a:defRPr/>
            </a:lvl3pPr>
            <a:lvl4pPr marL="534975" indent="0">
              <a:buFontTx/>
              <a:buNone/>
              <a:defRPr/>
            </a:lvl4pPr>
            <a:lvl5pPr marL="627047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BF7FFC9B-B100-4C13-9687-D5DEBE841DD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2" y="0"/>
            <a:ext cx="1584000" cy="1296000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54637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Honeycomb">
            <a:extLst>
              <a:ext uri="{FF2B5EF4-FFF2-40B4-BE49-F238E27FC236}">
                <a16:creationId xmlns:a16="http://schemas.microsoft.com/office/drawing/2014/main" id="{E1377E81-60B1-440E-BB9F-109D6575D2E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16430" y="-271"/>
            <a:ext cx="4105275" cy="6480175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  <p:sp>
        <p:nvSpPr>
          <p:cNvPr id="15" name="Picture">
            <a:extLst>
              <a:ext uri="{FF2B5EF4-FFF2-40B4-BE49-F238E27FC236}">
                <a16:creationId xmlns:a16="http://schemas.microsoft.com/office/drawing/2014/main" id="{A3868821-F3D5-49B5-A0DF-07339955401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777165" y="2"/>
            <a:ext cx="3743325" cy="6480175"/>
          </a:xfrm>
          <a:prstGeom prst="rect">
            <a:avLst/>
          </a:prstGeom>
        </p:spPr>
        <p:txBody>
          <a:bodyPr/>
          <a:lstStyle>
            <a:lvl1pPr marL="0" indent="0">
              <a:buFont typeface="Wingdings" panose="05000000000000000000" pitchFamily="2" charset="2"/>
              <a:buNone/>
              <a:defRPr/>
            </a:lvl1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22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3" name="Subtitle"/>
          <p:cNvSpPr>
            <a:spLocks noGrp="1"/>
          </p:cNvSpPr>
          <p:nvPr>
            <p:ph type="subTitle" idx="1"/>
          </p:nvPr>
        </p:nvSpPr>
        <p:spPr>
          <a:xfrm>
            <a:off x="431802" y="3960169"/>
            <a:ext cx="6984465" cy="10082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i="0" u="none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575989" indent="0" algn="ctr">
              <a:buNone/>
              <a:defRPr sz="3528"/>
            </a:lvl2pPr>
            <a:lvl3pPr marL="1151979" indent="0" algn="ctr">
              <a:buNone/>
              <a:defRPr sz="3024"/>
            </a:lvl3pPr>
            <a:lvl4pPr marL="1727968" indent="0" algn="ctr">
              <a:buNone/>
              <a:defRPr sz="2520"/>
            </a:lvl4pPr>
            <a:lvl5pPr marL="2303955" indent="0" algn="ctr">
              <a:buNone/>
              <a:defRPr sz="2520"/>
            </a:lvl5pPr>
            <a:lvl6pPr marL="2879945" indent="0" algn="ctr">
              <a:buNone/>
              <a:defRPr sz="2520"/>
            </a:lvl6pPr>
            <a:lvl7pPr marL="3455933" indent="0" algn="ctr">
              <a:buNone/>
              <a:defRPr sz="2520"/>
            </a:lvl7pPr>
            <a:lvl8pPr marL="4031921" indent="0" algn="ctr">
              <a:buNone/>
              <a:defRPr sz="2520"/>
            </a:lvl8pPr>
            <a:lvl9pPr marL="4607909" indent="0" algn="ctr">
              <a:buNone/>
              <a:defRPr sz="252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431654" y="1799927"/>
            <a:ext cx="6984613" cy="1799654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baseline="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Logo">
            <a:extLst>
              <a:ext uri="{FF2B5EF4-FFF2-40B4-BE49-F238E27FC236}">
                <a16:creationId xmlns:a16="http://schemas.microsoft.com/office/drawing/2014/main" id="{DCCAC102-F663-4057-A413-491C47FA97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2" y="0"/>
            <a:ext cx="1584000" cy="1296000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4342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Honeycomb">
            <a:extLst>
              <a:ext uri="{FF2B5EF4-FFF2-40B4-BE49-F238E27FC236}">
                <a16:creationId xmlns:a16="http://schemas.microsoft.com/office/drawing/2014/main" id="{B2D4E9DC-E60F-4D4D-AB52-B69D8736427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16430" y="-271"/>
            <a:ext cx="4105275" cy="6480175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  <p:sp>
        <p:nvSpPr>
          <p:cNvPr id="18" name="Picture">
            <a:extLst>
              <a:ext uri="{FF2B5EF4-FFF2-40B4-BE49-F238E27FC236}">
                <a16:creationId xmlns:a16="http://schemas.microsoft.com/office/drawing/2014/main" id="{457D3031-BE2A-4C40-B628-7AE340B5AFD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777165" y="2"/>
            <a:ext cx="3743325" cy="6480175"/>
          </a:xfrm>
          <a:prstGeom prst="rect">
            <a:avLst/>
          </a:prstGeom>
        </p:spPr>
        <p:txBody>
          <a:bodyPr/>
          <a:lstStyle>
            <a:lvl1pPr marL="0" indent="0">
              <a:buFont typeface="Wingdings" panose="05000000000000000000" pitchFamily="2" charset="2"/>
              <a:buNone/>
              <a:defRPr/>
            </a:lvl1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7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6" name="Content 2">
            <a:extLst>
              <a:ext uri="{FF2B5EF4-FFF2-40B4-BE49-F238E27FC236}">
                <a16:creationId xmlns:a16="http://schemas.microsoft.com/office/drawing/2014/main" id="{EF0E38CE-0554-41BF-9BCE-AB6D1842A9F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104904" y="1368425"/>
            <a:ext cx="3311524" cy="4751388"/>
          </a:xfrm>
          <a:prstGeom prst="rect">
            <a:avLst/>
          </a:prstGeom>
        </p:spPr>
        <p:txBody>
          <a:bodyPr lIns="0" rIns="0"/>
          <a:lstStyle>
            <a:lvl1pPr marL="179383" indent="-179383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1989" indent="-143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3988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58" algn="l"/>
                <a:tab pos="1196946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3983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379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4" name="Content 1">
            <a:extLst>
              <a:ext uri="{FF2B5EF4-FFF2-40B4-BE49-F238E27FC236}">
                <a16:creationId xmlns:a16="http://schemas.microsoft.com/office/drawing/2014/main" id="{CAD27D01-1A3D-457C-B0ED-CFD2B6D267C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802" y="1368425"/>
            <a:ext cx="3311524" cy="4751388"/>
          </a:xfrm>
          <a:prstGeom prst="rect">
            <a:avLst/>
          </a:prstGeom>
        </p:spPr>
        <p:txBody>
          <a:bodyPr lIns="0" rIns="0"/>
          <a:lstStyle>
            <a:lvl1pPr marL="179383" indent="-179383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1989" indent="-143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3988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58" algn="l"/>
                <a:tab pos="1196946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3983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379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BE8D11D-DF16-48BC-ABF1-52CECEBE26F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2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08" indent="0">
              <a:buFontTx/>
              <a:buNone/>
              <a:defRPr/>
            </a:lvl2pPr>
            <a:lvl3pPr marL="358766" indent="0">
              <a:buFontTx/>
              <a:buNone/>
              <a:defRPr/>
            </a:lvl3pPr>
            <a:lvl4pPr marL="534975" indent="0">
              <a:buFontTx/>
              <a:buNone/>
              <a:defRPr/>
            </a:lvl4pPr>
            <a:lvl5pPr marL="627047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0" name="Logo">
            <a:extLst>
              <a:ext uri="{FF2B5EF4-FFF2-40B4-BE49-F238E27FC236}">
                <a16:creationId xmlns:a16="http://schemas.microsoft.com/office/drawing/2014/main" id="{1489FE14-AC30-43F3-BC6D-57105E5665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2" y="0"/>
            <a:ext cx="1584000" cy="1296000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39860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Full widt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4" name="Content 2">
            <a:extLst>
              <a:ext uri="{FF2B5EF4-FFF2-40B4-BE49-F238E27FC236}">
                <a16:creationId xmlns:a16="http://schemas.microsoft.com/office/drawing/2014/main" id="{E5D74840-5DD7-4307-8351-65A929D506C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5939036" y="1368425"/>
            <a:ext cx="5149653" cy="4751388"/>
          </a:xfrm>
          <a:prstGeom prst="rect">
            <a:avLst/>
          </a:prstGeom>
        </p:spPr>
        <p:txBody>
          <a:bodyPr lIns="0" rIns="0"/>
          <a:lstStyle>
            <a:lvl1pPr marL="179383" indent="-179383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1989" indent="-143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3988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58" algn="l"/>
                <a:tab pos="1196946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3983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379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6" name="Content 1">
            <a:extLst>
              <a:ext uri="{FF2B5EF4-FFF2-40B4-BE49-F238E27FC236}">
                <a16:creationId xmlns:a16="http://schemas.microsoft.com/office/drawing/2014/main" id="{080E0F84-E16D-47E2-B580-9075BC18716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802" y="1368425"/>
            <a:ext cx="5148956" cy="4751388"/>
          </a:xfrm>
          <a:prstGeom prst="rect">
            <a:avLst/>
          </a:prstGeom>
        </p:spPr>
        <p:txBody>
          <a:bodyPr lIns="0" rIns="0"/>
          <a:lstStyle>
            <a:lvl1pPr marL="179383" indent="-179383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1989" indent="-143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3988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58" algn="l"/>
                <a:tab pos="1196946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3983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379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AADFAF9B-459A-4E97-8D73-FE5AC60F47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2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08" indent="0">
              <a:buFontTx/>
              <a:buNone/>
              <a:defRPr/>
            </a:lvl2pPr>
            <a:lvl3pPr marL="358766" indent="0">
              <a:buFontTx/>
              <a:buNone/>
              <a:defRPr/>
            </a:lvl3pPr>
            <a:lvl4pPr marL="534975" indent="0">
              <a:buFontTx/>
              <a:buNone/>
              <a:defRPr/>
            </a:lvl4pPr>
            <a:lvl5pPr marL="627047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0" name="Logo">
            <a:extLst>
              <a:ext uri="{FF2B5EF4-FFF2-40B4-BE49-F238E27FC236}">
                <a16:creationId xmlns:a16="http://schemas.microsoft.com/office/drawing/2014/main" id="{CFE7006E-D65E-4979-905F-A2B092D8A0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2" y="0"/>
            <a:ext cx="1584000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0013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Honeycomb">
            <a:extLst>
              <a:ext uri="{FF2B5EF4-FFF2-40B4-BE49-F238E27FC236}">
                <a16:creationId xmlns:a16="http://schemas.microsoft.com/office/drawing/2014/main" id="{8B8D1C1E-9E02-42B8-8776-E3328661E73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16428" y="-273"/>
            <a:ext cx="4105275" cy="6480175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  <p:sp>
        <p:nvSpPr>
          <p:cNvPr id="36" name="Picture">
            <a:extLst>
              <a:ext uri="{FF2B5EF4-FFF2-40B4-BE49-F238E27FC236}">
                <a16:creationId xmlns:a16="http://schemas.microsoft.com/office/drawing/2014/main" id="{E75759D1-6B09-4041-B1D4-2CC0F0FAD4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777163" y="0"/>
            <a:ext cx="3743325" cy="6480175"/>
          </a:xfrm>
          <a:prstGeom prst="rect">
            <a:avLst/>
          </a:prstGeom>
        </p:spPr>
        <p:txBody>
          <a:bodyPr/>
          <a:lstStyle>
            <a:lvl1pPr marL="0" indent="0">
              <a:buFont typeface="Wingdings" panose="05000000000000000000" pitchFamily="2" charset="2"/>
              <a:buNone/>
              <a:defRPr/>
            </a:lvl1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12"/>
          </p:nvPr>
        </p:nvSpPr>
        <p:spPr/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0" name="Content"/>
          <p:cNvSpPr>
            <a:spLocks noGrp="1"/>
          </p:cNvSpPr>
          <p:nvPr>
            <p:ph idx="1" hasCustomPrompt="1"/>
          </p:nvPr>
        </p:nvSpPr>
        <p:spPr>
          <a:xfrm>
            <a:off x="431801" y="1368425"/>
            <a:ext cx="6984999" cy="4751388"/>
          </a:xfrm>
          <a:prstGeom prst="rect">
            <a:avLst/>
          </a:prstGeom>
        </p:spPr>
        <p:txBody>
          <a:bodyPr lIns="0" rIns="0"/>
          <a:lstStyle>
            <a:lvl1pPr marL="179388" indent="-179388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2000" indent="-144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75" algn="l"/>
                <a:tab pos="1196975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4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4" name="Subtitle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12" indent="0">
              <a:buFontTx/>
              <a:buNone/>
              <a:defRPr/>
            </a:lvl2pPr>
            <a:lvl3pPr marL="358775" indent="0">
              <a:buFontTx/>
              <a:buNone/>
              <a:defRPr/>
            </a:lvl3pPr>
            <a:lvl4pPr marL="534988" indent="0">
              <a:buFontTx/>
              <a:buNone/>
              <a:defRPr/>
            </a:lvl4pPr>
            <a:lvl5pPr marL="627063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9" name="Logo">
            <a:extLst>
              <a:ext uri="{FF2B5EF4-FFF2-40B4-BE49-F238E27FC236}">
                <a16:creationId xmlns:a16="http://schemas.microsoft.com/office/drawing/2014/main" id="{BF7FFC9B-B100-4C13-9687-D5DEBE841DD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0" y="0"/>
            <a:ext cx="1584000" cy="1296000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8577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</p:bld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6" name="Content 3">
            <a:extLst>
              <a:ext uri="{FF2B5EF4-FFF2-40B4-BE49-F238E27FC236}">
                <a16:creationId xmlns:a16="http://schemas.microsoft.com/office/drawing/2014/main" id="{7B1F4D6D-B029-41A9-805A-7456BD7CC951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76468" y="1367881"/>
            <a:ext cx="3311524" cy="4751388"/>
          </a:xfrm>
          <a:prstGeom prst="rect">
            <a:avLst/>
          </a:prstGeom>
        </p:spPr>
        <p:txBody>
          <a:bodyPr lIns="0" rIns="0"/>
          <a:lstStyle>
            <a:lvl1pPr marL="179383" indent="-179383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1989" indent="-143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3988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58" algn="l"/>
                <a:tab pos="1196946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3983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379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4" name="Content 2">
            <a:extLst>
              <a:ext uri="{FF2B5EF4-FFF2-40B4-BE49-F238E27FC236}">
                <a16:creationId xmlns:a16="http://schemas.microsoft.com/office/drawing/2014/main" id="{476F8507-A621-4914-A838-514DA696D7A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104904" y="1368425"/>
            <a:ext cx="3311524" cy="4751388"/>
          </a:xfrm>
          <a:prstGeom prst="rect">
            <a:avLst/>
          </a:prstGeom>
        </p:spPr>
        <p:txBody>
          <a:bodyPr lIns="0" rIns="0"/>
          <a:lstStyle>
            <a:lvl1pPr marL="179383" indent="-179383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1989" indent="-143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3988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58" algn="l"/>
                <a:tab pos="1196946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3983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379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5" name="Content 1">
            <a:extLst>
              <a:ext uri="{FF2B5EF4-FFF2-40B4-BE49-F238E27FC236}">
                <a16:creationId xmlns:a16="http://schemas.microsoft.com/office/drawing/2014/main" id="{75362F2F-0260-49B2-B6C0-97FCCD7BBA5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802" y="1368425"/>
            <a:ext cx="3311524" cy="4751388"/>
          </a:xfrm>
          <a:prstGeom prst="rect">
            <a:avLst/>
          </a:prstGeom>
        </p:spPr>
        <p:txBody>
          <a:bodyPr lIns="0" rIns="0"/>
          <a:lstStyle>
            <a:lvl1pPr marL="179383" indent="-179383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1989" indent="-143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3988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58" algn="l"/>
                <a:tab pos="1196946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3983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379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C8262736-C214-49E8-A502-B7556CA573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2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08" indent="0">
              <a:buFontTx/>
              <a:buNone/>
              <a:defRPr/>
            </a:lvl2pPr>
            <a:lvl3pPr marL="358766" indent="0">
              <a:buFontTx/>
              <a:buNone/>
              <a:defRPr/>
            </a:lvl3pPr>
            <a:lvl4pPr marL="534975" indent="0">
              <a:buFontTx/>
              <a:buNone/>
              <a:defRPr/>
            </a:lvl4pPr>
            <a:lvl5pPr marL="627047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31799" y="360000"/>
            <a:ext cx="699336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0" name="Logo">
            <a:extLst>
              <a:ext uri="{FF2B5EF4-FFF2-40B4-BE49-F238E27FC236}">
                <a16:creationId xmlns:a16="http://schemas.microsoft.com/office/drawing/2014/main" id="{166697BB-C1D6-4FD6-8642-291F43789B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2" y="0"/>
            <a:ext cx="1584000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97862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3E0B94D5-4D9A-4335-8F90-4EFAC1A276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2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08" indent="0">
              <a:buFontTx/>
              <a:buNone/>
              <a:defRPr/>
            </a:lvl2pPr>
            <a:lvl3pPr marL="358766" indent="0">
              <a:buFontTx/>
              <a:buNone/>
              <a:defRPr/>
            </a:lvl3pPr>
            <a:lvl4pPr marL="534975" indent="0">
              <a:buFontTx/>
              <a:buNone/>
              <a:defRPr/>
            </a:lvl4pPr>
            <a:lvl5pPr marL="627047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B6565C17-7B8F-48C6-96A5-997EC37AE4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2" y="0"/>
            <a:ext cx="1584000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50505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D55A3F2D-B918-45DA-B77D-6A84AF0807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2" y="0"/>
            <a:ext cx="1584000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70424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Honeycomb transparent">
            <a:extLst>
              <a:ext uri="{FF2B5EF4-FFF2-40B4-BE49-F238E27FC236}">
                <a16:creationId xmlns:a16="http://schemas.microsoft.com/office/drawing/2014/main" id="{8C10F077-83A0-4E52-BDAF-C6B3F510E0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6267" y="2"/>
            <a:ext cx="4104619" cy="6480175"/>
          </a:xfrm>
          <a:prstGeom prst="rect">
            <a:avLst/>
          </a:prstGeom>
        </p:spPr>
      </p:pic>
      <p:sp>
        <p:nvSpPr>
          <p:cNvPr id="6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1D0B97C7-EAA8-494C-8B6A-A62ABDCDAF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2" y="0"/>
            <a:ext cx="1584000" cy="1296000"/>
          </a:xfrm>
          <a:prstGeom prst="rect">
            <a:avLst/>
          </a:pr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09505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40061" y="1060529"/>
            <a:ext cx="8640366" cy="2256061"/>
          </a:xfrm>
        </p:spPr>
        <p:txBody>
          <a:bodyPr anchor="b"/>
          <a:lstStyle>
            <a:lvl1pPr algn="ctr">
              <a:defRPr sz="566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61" y="3403592"/>
            <a:ext cx="8640366" cy="1564542"/>
          </a:xfrm>
        </p:spPr>
        <p:txBody>
          <a:bodyPr/>
          <a:lstStyle>
            <a:lvl1pPr marL="0" indent="0" algn="ctr">
              <a:buNone/>
              <a:defRPr sz="2268"/>
            </a:lvl1pPr>
            <a:lvl2pPr marL="431998" indent="0" algn="ctr">
              <a:buNone/>
              <a:defRPr sz="1890"/>
            </a:lvl2pPr>
            <a:lvl3pPr marL="863996" indent="0" algn="ctr">
              <a:buNone/>
              <a:defRPr sz="1701"/>
            </a:lvl3pPr>
            <a:lvl4pPr marL="1295993" indent="0" algn="ctr">
              <a:buNone/>
              <a:defRPr sz="1512"/>
            </a:lvl4pPr>
            <a:lvl5pPr marL="1727990" indent="0" algn="ctr">
              <a:buNone/>
              <a:defRPr sz="1512"/>
            </a:lvl5pPr>
            <a:lvl6pPr marL="2159988" indent="0" algn="ctr">
              <a:buNone/>
              <a:defRPr sz="1512"/>
            </a:lvl6pPr>
            <a:lvl7pPr marL="2591986" indent="0" algn="ctr">
              <a:buNone/>
              <a:defRPr sz="1512"/>
            </a:lvl7pPr>
            <a:lvl8pPr marL="3023983" indent="0" algn="ctr">
              <a:buNone/>
              <a:defRPr sz="1512"/>
            </a:lvl8pPr>
            <a:lvl9pPr marL="3455981" indent="0" algn="ctr">
              <a:buNone/>
              <a:defRPr sz="1512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BF9AB4-2A49-4806-9005-7D8FFFED7AB4}" type="datetimeFigureOut">
              <a:rPr lang="nl-NL" smtClean="0"/>
              <a:t>21-6-2024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154965-77C4-46F2-B5EA-632ABF3C97D5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9087757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6" name="Content 3">
            <a:extLst>
              <a:ext uri="{FF2B5EF4-FFF2-40B4-BE49-F238E27FC236}">
                <a16:creationId xmlns:a16="http://schemas.microsoft.com/office/drawing/2014/main" id="{7B1F4D6D-B029-41A9-805A-7456BD7CC951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76468" y="1367881"/>
            <a:ext cx="3311524" cy="4751388"/>
          </a:xfrm>
          <a:prstGeom prst="rect">
            <a:avLst/>
          </a:prstGeom>
        </p:spPr>
        <p:txBody>
          <a:bodyPr lIns="0" rIns="0"/>
          <a:lstStyle>
            <a:lvl1pPr marL="179383" indent="-179383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1989" indent="-143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3988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58" algn="l"/>
                <a:tab pos="1196946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3983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379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4" name="Content 2">
            <a:extLst>
              <a:ext uri="{FF2B5EF4-FFF2-40B4-BE49-F238E27FC236}">
                <a16:creationId xmlns:a16="http://schemas.microsoft.com/office/drawing/2014/main" id="{476F8507-A621-4914-A838-514DA696D7A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104904" y="1368425"/>
            <a:ext cx="3311524" cy="4751388"/>
          </a:xfrm>
          <a:prstGeom prst="rect">
            <a:avLst/>
          </a:prstGeom>
        </p:spPr>
        <p:txBody>
          <a:bodyPr lIns="0" rIns="0"/>
          <a:lstStyle>
            <a:lvl1pPr marL="179383" indent="-179383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1989" indent="-143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3988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58" algn="l"/>
                <a:tab pos="1196946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3983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379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5" name="Content 1">
            <a:extLst>
              <a:ext uri="{FF2B5EF4-FFF2-40B4-BE49-F238E27FC236}">
                <a16:creationId xmlns:a16="http://schemas.microsoft.com/office/drawing/2014/main" id="{75362F2F-0260-49B2-B6C0-97FCCD7BBA5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802" y="1368425"/>
            <a:ext cx="3311524" cy="4751388"/>
          </a:xfrm>
          <a:prstGeom prst="rect">
            <a:avLst/>
          </a:prstGeom>
        </p:spPr>
        <p:txBody>
          <a:bodyPr lIns="0" rIns="0"/>
          <a:lstStyle>
            <a:lvl1pPr marL="179383" indent="-179383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1989" indent="-143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3988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58" algn="l"/>
                <a:tab pos="1196946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3983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379" indent="-107996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C8262736-C214-49E8-A502-B7556CA573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2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08" indent="0">
              <a:buFontTx/>
              <a:buNone/>
              <a:defRPr/>
            </a:lvl2pPr>
            <a:lvl3pPr marL="358766" indent="0">
              <a:buFontTx/>
              <a:buNone/>
              <a:defRPr/>
            </a:lvl3pPr>
            <a:lvl4pPr marL="534975" indent="0">
              <a:buFontTx/>
              <a:buNone/>
              <a:defRPr/>
            </a:lvl4pPr>
            <a:lvl5pPr marL="627047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31799" y="360000"/>
            <a:ext cx="699336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1" name="Logo">
            <a:extLst>
              <a:ext uri="{FF2B5EF4-FFF2-40B4-BE49-F238E27FC236}">
                <a16:creationId xmlns:a16="http://schemas.microsoft.com/office/drawing/2014/main" id="{E248258C-AA78-2E42-297F-27D4CBE981AC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10080244" y="534947"/>
            <a:ext cx="1296000" cy="22539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6010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Honeycomb">
            <a:extLst>
              <a:ext uri="{FF2B5EF4-FFF2-40B4-BE49-F238E27FC236}">
                <a16:creationId xmlns:a16="http://schemas.microsoft.com/office/drawing/2014/main" id="{E1377E81-60B1-440E-BB9F-109D6575D2E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16428" y="-273"/>
            <a:ext cx="4105275" cy="6480175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  <p:sp>
        <p:nvSpPr>
          <p:cNvPr id="15" name="Picture">
            <a:extLst>
              <a:ext uri="{FF2B5EF4-FFF2-40B4-BE49-F238E27FC236}">
                <a16:creationId xmlns:a16="http://schemas.microsoft.com/office/drawing/2014/main" id="{A3868821-F3D5-49B5-A0DF-07339955401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777163" y="0"/>
            <a:ext cx="3743325" cy="6480175"/>
          </a:xfrm>
          <a:prstGeom prst="rect">
            <a:avLst/>
          </a:prstGeom>
        </p:spPr>
        <p:txBody>
          <a:bodyPr/>
          <a:lstStyle>
            <a:lvl1pPr marL="0" indent="0">
              <a:buFont typeface="Wingdings" panose="05000000000000000000" pitchFamily="2" charset="2"/>
              <a:buNone/>
              <a:defRPr/>
            </a:lvl1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22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3" name="Subtitle"/>
          <p:cNvSpPr>
            <a:spLocks noGrp="1"/>
          </p:cNvSpPr>
          <p:nvPr>
            <p:ph type="subTitle" idx="1"/>
          </p:nvPr>
        </p:nvSpPr>
        <p:spPr>
          <a:xfrm>
            <a:off x="431800" y="3960167"/>
            <a:ext cx="6984465" cy="10082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1600" i="0" u="none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576003" indent="0" algn="ctr">
              <a:buNone/>
              <a:defRPr sz="3528"/>
            </a:lvl2pPr>
            <a:lvl3pPr marL="1152007" indent="0" algn="ctr">
              <a:buNone/>
              <a:defRPr sz="3024"/>
            </a:lvl3pPr>
            <a:lvl4pPr marL="1728010" indent="0" algn="ctr">
              <a:buNone/>
              <a:defRPr sz="2520"/>
            </a:lvl4pPr>
            <a:lvl5pPr marL="2304012" indent="0" algn="ctr">
              <a:buNone/>
              <a:defRPr sz="2520"/>
            </a:lvl5pPr>
            <a:lvl6pPr marL="2880015" indent="0" algn="ctr">
              <a:buNone/>
              <a:defRPr sz="2520"/>
            </a:lvl6pPr>
            <a:lvl7pPr marL="3456019" indent="0" algn="ctr">
              <a:buNone/>
              <a:defRPr sz="2520"/>
            </a:lvl7pPr>
            <a:lvl8pPr marL="4032021" indent="0" algn="ctr">
              <a:buNone/>
              <a:defRPr sz="2520"/>
            </a:lvl8pPr>
            <a:lvl9pPr marL="4608023" indent="0" algn="ctr">
              <a:buNone/>
              <a:defRPr sz="252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431652" y="1799927"/>
            <a:ext cx="6984613" cy="1799654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3200" baseline="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Logo">
            <a:extLst>
              <a:ext uri="{FF2B5EF4-FFF2-40B4-BE49-F238E27FC236}">
                <a16:creationId xmlns:a16="http://schemas.microsoft.com/office/drawing/2014/main" id="{DCCAC102-F663-4057-A413-491C47FA97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0" y="0"/>
            <a:ext cx="1584000" cy="1296000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87343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Honeycomb">
            <a:extLst>
              <a:ext uri="{FF2B5EF4-FFF2-40B4-BE49-F238E27FC236}">
                <a16:creationId xmlns:a16="http://schemas.microsoft.com/office/drawing/2014/main" id="{B2D4E9DC-E60F-4D4D-AB52-B69D8736427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16428" y="-273"/>
            <a:ext cx="4105275" cy="6480175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  <p:sp>
        <p:nvSpPr>
          <p:cNvPr id="18" name="Picture">
            <a:extLst>
              <a:ext uri="{FF2B5EF4-FFF2-40B4-BE49-F238E27FC236}">
                <a16:creationId xmlns:a16="http://schemas.microsoft.com/office/drawing/2014/main" id="{457D3031-BE2A-4C40-B628-7AE340B5AFD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777163" y="0"/>
            <a:ext cx="3743325" cy="6480175"/>
          </a:xfrm>
          <a:prstGeom prst="rect">
            <a:avLst/>
          </a:prstGeom>
        </p:spPr>
        <p:txBody>
          <a:bodyPr/>
          <a:lstStyle>
            <a:lvl1pPr marL="0" indent="0">
              <a:buFont typeface="Wingdings" panose="05000000000000000000" pitchFamily="2" charset="2"/>
              <a:buNone/>
              <a:defRPr/>
            </a:lvl1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7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6" name="Content 2">
            <a:extLst>
              <a:ext uri="{FF2B5EF4-FFF2-40B4-BE49-F238E27FC236}">
                <a16:creationId xmlns:a16="http://schemas.microsoft.com/office/drawing/2014/main" id="{EF0E38CE-0554-41BF-9BCE-AB6D1842A9F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104904" y="1368425"/>
            <a:ext cx="3311524" cy="4751388"/>
          </a:xfrm>
          <a:prstGeom prst="rect">
            <a:avLst/>
          </a:prstGeom>
        </p:spPr>
        <p:txBody>
          <a:bodyPr lIns="0" rIns="0"/>
          <a:lstStyle>
            <a:lvl1pPr marL="179388" indent="-179388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2000" indent="-144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75" algn="l"/>
                <a:tab pos="1196975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4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4" name="Content 1">
            <a:extLst>
              <a:ext uri="{FF2B5EF4-FFF2-40B4-BE49-F238E27FC236}">
                <a16:creationId xmlns:a16="http://schemas.microsoft.com/office/drawing/2014/main" id="{CAD27D01-1A3D-457C-B0ED-CFD2B6D267C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802" y="1368425"/>
            <a:ext cx="3311524" cy="4751388"/>
          </a:xfrm>
          <a:prstGeom prst="rect">
            <a:avLst/>
          </a:prstGeom>
        </p:spPr>
        <p:txBody>
          <a:bodyPr lIns="0" rIns="0"/>
          <a:lstStyle>
            <a:lvl1pPr marL="179388" indent="-179388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2000" indent="-144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75" algn="l"/>
                <a:tab pos="1196975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4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BE8D11D-DF16-48BC-ABF1-52CECEBE26F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12" indent="0">
              <a:buFontTx/>
              <a:buNone/>
              <a:defRPr/>
            </a:lvl2pPr>
            <a:lvl3pPr marL="358775" indent="0">
              <a:buFontTx/>
              <a:buNone/>
              <a:defRPr/>
            </a:lvl3pPr>
            <a:lvl4pPr marL="534988" indent="0">
              <a:buFontTx/>
              <a:buNone/>
              <a:defRPr/>
            </a:lvl4pPr>
            <a:lvl5pPr marL="627063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0" name="Logo">
            <a:extLst>
              <a:ext uri="{FF2B5EF4-FFF2-40B4-BE49-F238E27FC236}">
                <a16:creationId xmlns:a16="http://schemas.microsoft.com/office/drawing/2014/main" id="{1489FE14-AC30-43F3-BC6D-57105E5665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0" y="0"/>
            <a:ext cx="1584000" cy="1296000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69548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Full widt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4" name="Content 2">
            <a:extLst>
              <a:ext uri="{FF2B5EF4-FFF2-40B4-BE49-F238E27FC236}">
                <a16:creationId xmlns:a16="http://schemas.microsoft.com/office/drawing/2014/main" id="{E5D74840-5DD7-4307-8351-65A929D506C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5939034" y="1368425"/>
            <a:ext cx="5149653" cy="4751388"/>
          </a:xfrm>
          <a:prstGeom prst="rect">
            <a:avLst/>
          </a:prstGeom>
        </p:spPr>
        <p:txBody>
          <a:bodyPr lIns="0" rIns="0"/>
          <a:lstStyle>
            <a:lvl1pPr marL="179388" indent="-179388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2000" indent="-144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75" algn="l"/>
                <a:tab pos="1196975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4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6" name="Content 1">
            <a:extLst>
              <a:ext uri="{FF2B5EF4-FFF2-40B4-BE49-F238E27FC236}">
                <a16:creationId xmlns:a16="http://schemas.microsoft.com/office/drawing/2014/main" id="{080E0F84-E16D-47E2-B580-9075BC18716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802" y="1368425"/>
            <a:ext cx="5148956" cy="4751388"/>
          </a:xfrm>
          <a:prstGeom prst="rect">
            <a:avLst/>
          </a:prstGeom>
        </p:spPr>
        <p:txBody>
          <a:bodyPr lIns="0" rIns="0"/>
          <a:lstStyle>
            <a:lvl1pPr marL="179388" indent="-179388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2000" indent="-144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75" algn="l"/>
                <a:tab pos="1196975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4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AADFAF9B-459A-4E97-8D73-FE5AC60F47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12" indent="0">
              <a:buFontTx/>
              <a:buNone/>
              <a:defRPr/>
            </a:lvl2pPr>
            <a:lvl3pPr marL="358775" indent="0">
              <a:buFontTx/>
              <a:buNone/>
              <a:defRPr/>
            </a:lvl3pPr>
            <a:lvl4pPr marL="534988" indent="0">
              <a:buFontTx/>
              <a:buNone/>
              <a:defRPr/>
            </a:lvl4pPr>
            <a:lvl5pPr marL="627063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0" name="Logo">
            <a:extLst>
              <a:ext uri="{FF2B5EF4-FFF2-40B4-BE49-F238E27FC236}">
                <a16:creationId xmlns:a16="http://schemas.microsoft.com/office/drawing/2014/main" id="{CFE7006E-D65E-4979-905F-A2B092D8A0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0" y="0"/>
            <a:ext cx="1584000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30811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"/>
          <p:cNvSpPr>
            <a:spLocks noGrp="1"/>
          </p:cNvSpPr>
          <p:nvPr>
            <p:ph type="sldNum" sz="quarter" idx="12"/>
          </p:nvPr>
        </p:nvSpPr>
        <p:spPr>
          <a:xfrm>
            <a:off x="11088688" y="6119813"/>
            <a:ext cx="431800" cy="360362"/>
          </a:xfrm>
        </p:spPr>
        <p:txBody>
          <a:bodyPr lIns="0" rIns="72000"/>
          <a:lstStyle>
            <a:lvl1pPr algn="r">
              <a:defRPr/>
            </a:lvl1pPr>
          </a:lstStyle>
          <a:p>
            <a:fld id="{2882D01A-ED25-4F30-894A-E32B487BCBA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6" name="Content 3">
            <a:extLst>
              <a:ext uri="{FF2B5EF4-FFF2-40B4-BE49-F238E27FC236}">
                <a16:creationId xmlns:a16="http://schemas.microsoft.com/office/drawing/2014/main" id="{7B1F4D6D-B029-41A9-805A-7456BD7CC951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76468" y="1367879"/>
            <a:ext cx="3311524" cy="4751388"/>
          </a:xfrm>
          <a:prstGeom prst="rect">
            <a:avLst/>
          </a:prstGeom>
        </p:spPr>
        <p:txBody>
          <a:bodyPr lIns="0" rIns="0"/>
          <a:lstStyle>
            <a:lvl1pPr marL="179388" indent="-179388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2000" indent="-144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75" algn="l"/>
                <a:tab pos="1196975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4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4" name="Content 2">
            <a:extLst>
              <a:ext uri="{FF2B5EF4-FFF2-40B4-BE49-F238E27FC236}">
                <a16:creationId xmlns:a16="http://schemas.microsoft.com/office/drawing/2014/main" id="{476F8507-A621-4914-A838-514DA696D7A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104904" y="1368425"/>
            <a:ext cx="3311524" cy="4751388"/>
          </a:xfrm>
          <a:prstGeom prst="rect">
            <a:avLst/>
          </a:prstGeom>
        </p:spPr>
        <p:txBody>
          <a:bodyPr lIns="0" rIns="0"/>
          <a:lstStyle>
            <a:lvl1pPr marL="179388" indent="-179388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2000" indent="-144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75" algn="l"/>
                <a:tab pos="1196975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4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5" name="Content 1">
            <a:extLst>
              <a:ext uri="{FF2B5EF4-FFF2-40B4-BE49-F238E27FC236}">
                <a16:creationId xmlns:a16="http://schemas.microsoft.com/office/drawing/2014/main" id="{75362F2F-0260-49B2-B6C0-97FCCD7BBA5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802" y="1368425"/>
            <a:ext cx="3311524" cy="4751388"/>
          </a:xfrm>
          <a:prstGeom prst="rect">
            <a:avLst/>
          </a:prstGeom>
        </p:spPr>
        <p:txBody>
          <a:bodyPr lIns="0" rIns="0"/>
          <a:lstStyle>
            <a:lvl1pPr marL="179388" indent="-179388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20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32000" indent="-144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defRPr sz="140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0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50000"/>
                </a:schemeClr>
              </a:buClr>
              <a:buSzPct val="100000"/>
              <a:buFont typeface="Wingdings" panose="05000000000000000000" pitchFamily="2" charset="2"/>
              <a:buChar char="§"/>
              <a:tabLst>
                <a:tab pos="714375" algn="l"/>
                <a:tab pos="1196975" algn="l"/>
              </a:tabLst>
              <a:defRPr sz="1200" i="0" spc="4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840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5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842400" indent="-108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000" i="0" spc="40" baseline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level</a:t>
            </a:r>
            <a:endParaRPr lang="en-US"/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C8262736-C214-49E8-A502-B7556CA573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791815"/>
            <a:ext cx="6984000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i="0" spc="40" baseline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76212" indent="0">
              <a:buFontTx/>
              <a:buNone/>
              <a:defRPr/>
            </a:lvl2pPr>
            <a:lvl3pPr marL="358775" indent="0">
              <a:buFontTx/>
              <a:buNone/>
              <a:defRPr/>
            </a:lvl3pPr>
            <a:lvl4pPr marL="534988" indent="0">
              <a:buFontTx/>
              <a:buNone/>
              <a:defRPr/>
            </a:lvl4pPr>
            <a:lvl5pPr marL="627063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31799" y="360000"/>
            <a:ext cx="6993360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0" name="Logo">
            <a:extLst>
              <a:ext uri="{FF2B5EF4-FFF2-40B4-BE49-F238E27FC236}">
                <a16:creationId xmlns:a16="http://schemas.microsoft.com/office/drawing/2014/main" id="{166697BB-C1D6-4FD6-8642-291F43789B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36000" y="0"/>
            <a:ext cx="1584000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nl-NL" dirty="0"/>
            </a:lvl1pPr>
          </a:lstStyle>
          <a:p>
            <a:pPr lvl="0"/>
            <a:r>
              <a:rPr lang="en-US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86861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Relationship Id="rId9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0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19" Type="http://schemas.openxmlformats.org/officeDocument/2006/relationships/oleObject" Target="../embeddings/oleObject4.bin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4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49086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 title="slide titel"/>
          <p:cNvSpPr>
            <a:spLocks noGrp="1"/>
          </p:cNvSpPr>
          <p:nvPr>
            <p:ph type="title"/>
          </p:nvPr>
        </p:nvSpPr>
        <p:spPr>
          <a:xfrm>
            <a:off x="431799" y="360000"/>
            <a:ext cx="6985001" cy="432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88688" y="6119813"/>
            <a:ext cx="431800" cy="360362"/>
          </a:xfrm>
          <a:prstGeom prst="rect">
            <a:avLst/>
          </a:prstGeom>
        </p:spPr>
        <p:txBody>
          <a:bodyPr vert="horz" wrap="square" lIns="0" tIns="0" rIns="72000" bIns="0" rtlCol="0" anchor="ctr">
            <a:noAutofit/>
          </a:bodyPr>
          <a:lstStyle>
            <a:lvl1pPr>
              <a:defRPr lang="nl-NL" sz="1200" smtClean="0">
                <a:solidFill>
                  <a:schemeClr val="bg2">
                    <a:lumMod val="75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pPr algn="r"/>
            <a:fld id="{F791CC35-585A-460F-828B-2CA8A8646522}" type="slidenum">
              <a:rPr lang="nl-NL" smtClean="0"/>
              <a:pPr algn="r"/>
              <a:t>‹#›</a:t>
            </a:fld>
            <a:endParaRPr lang="nl-NL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72DA08D1-560B-0746-FBCE-9D27E0995212}"/>
              </a:ext>
            </a:extLst>
          </p:cNvPr>
          <p:cNvSpPr txBox="1">
            <a:spLocks/>
          </p:cNvSpPr>
          <p:nvPr userDrawn="1"/>
        </p:nvSpPr>
        <p:spPr>
          <a:xfrm>
            <a:off x="9936000" y="0"/>
            <a:ext cx="1584000" cy="1296000"/>
          </a:xfrm>
          <a:prstGeom prst="rect">
            <a:avLst/>
          </a:pr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115200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85000"/>
              <a:buFont typeface="Arial" panose="020B0604020202020204" pitchFamily="34" charset="0"/>
              <a:buNone/>
              <a:defRPr lang="nl-NL" sz="2250" kern="1200" spc="60" baseline="0" dirty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58775" indent="-182563" algn="l" defTabSz="1152007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tx1">
                  <a:lumMod val="60000"/>
                  <a:lumOff val="40000"/>
                </a:schemeClr>
              </a:buClr>
              <a:buSzPct val="75000"/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6213" algn="l" defTabSz="1152007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tx1">
                  <a:lumMod val="60000"/>
                  <a:lumOff val="40000"/>
                </a:schemeClr>
              </a:buClr>
              <a:buSzPct val="75000"/>
              <a:buFont typeface="Wingdings" panose="05000000000000000000" pitchFamily="2" charset="2"/>
              <a:buChar char="§"/>
              <a:tabLst>
                <a:tab pos="1198017" algn="l"/>
              </a:tabLst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7063" indent="-92075" algn="l" defTabSz="1152007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tx1">
                  <a:lumMod val="60000"/>
                  <a:lumOff val="40000"/>
                </a:schemeClr>
              </a:buClr>
              <a:buSzPct val="75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92075" algn="l" defTabSz="1152007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tx1">
                  <a:lumMod val="60000"/>
                  <a:lumOff val="40000"/>
                </a:schemeClr>
              </a:buClr>
              <a:buSzPct val="75000"/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8017" indent="-288001" algn="l" defTabSz="1152007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44020" indent="-288001" algn="l" defTabSz="1152007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23" indent="-288001" algn="l" defTabSz="1152007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026" indent="-288001" algn="l" defTabSz="1152007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3433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5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1152007" rtl="0" eaLnBrk="1" latinLnBrk="0" hangingPunct="1">
        <a:lnSpc>
          <a:spcPct val="100000"/>
        </a:lnSpc>
        <a:spcBef>
          <a:spcPct val="0"/>
        </a:spcBef>
        <a:buNone/>
        <a:defRPr lang="en-US" sz="3200" b="0" kern="1200" spc="40" baseline="0" dirty="0">
          <a:solidFill>
            <a:schemeClr val="tx2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1pPr>
    </p:titleStyle>
    <p:bodyStyle>
      <a:lvl1pPr marL="268288" indent="-268288" algn="l" defTabSz="115200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85000"/>
        <a:buFontTx/>
        <a:buBlip>
          <a:blip r:embed="rId9"/>
        </a:buBlip>
        <a:defRPr sz="2250" kern="1200" spc="60" baseline="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1pPr>
      <a:lvl2pPr marL="358775" indent="-182563" algn="l" defTabSz="1152007" rtl="0" eaLnBrk="1" latinLnBrk="0" hangingPunct="1">
        <a:lnSpc>
          <a:spcPct val="90000"/>
        </a:lnSpc>
        <a:spcBef>
          <a:spcPts val="629"/>
        </a:spcBef>
        <a:buClr>
          <a:schemeClr val="tx1">
            <a:lumMod val="60000"/>
            <a:lumOff val="40000"/>
          </a:schemeClr>
        </a:buClr>
        <a:buSzPct val="75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6213" algn="l" defTabSz="1152007" rtl="0" eaLnBrk="1" latinLnBrk="0" hangingPunct="1">
        <a:lnSpc>
          <a:spcPct val="90000"/>
        </a:lnSpc>
        <a:spcBef>
          <a:spcPts val="629"/>
        </a:spcBef>
        <a:buClr>
          <a:schemeClr val="tx1">
            <a:lumMod val="60000"/>
            <a:lumOff val="40000"/>
          </a:schemeClr>
        </a:buClr>
        <a:buSzPct val="75000"/>
        <a:buFont typeface="Wingdings" panose="05000000000000000000" pitchFamily="2" charset="2"/>
        <a:buChar char="§"/>
        <a:tabLst>
          <a:tab pos="1198017" algn="l"/>
        </a:tabLst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27063" indent="-92075" algn="l" defTabSz="1152007" rtl="0" eaLnBrk="1" latinLnBrk="0" hangingPunct="1">
        <a:lnSpc>
          <a:spcPct val="90000"/>
        </a:lnSpc>
        <a:spcBef>
          <a:spcPts val="629"/>
        </a:spcBef>
        <a:buClr>
          <a:schemeClr val="tx1">
            <a:lumMod val="60000"/>
            <a:lumOff val="40000"/>
          </a:schemeClr>
        </a:buClr>
        <a:buSzPct val="75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92075" algn="l" defTabSz="1152007" rtl="0" eaLnBrk="1" latinLnBrk="0" hangingPunct="1">
        <a:lnSpc>
          <a:spcPct val="90000"/>
        </a:lnSpc>
        <a:spcBef>
          <a:spcPts val="629"/>
        </a:spcBef>
        <a:buClr>
          <a:schemeClr val="tx1">
            <a:lumMod val="60000"/>
            <a:lumOff val="40000"/>
          </a:schemeClr>
        </a:buClr>
        <a:buSzPct val="75000"/>
        <a:buFont typeface="Wingdings" panose="05000000000000000000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168017" indent="-288001" algn="l" defTabSz="1152007" rtl="0" eaLnBrk="1" latinLnBrk="0" hangingPunct="1">
        <a:spcBef>
          <a:spcPct val="20000"/>
        </a:spcBef>
        <a:buFont typeface="Wingdings 2" pitchFamily="18" charset="2"/>
        <a:buChar char="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020" indent="-288001" algn="l" defTabSz="1152007" rtl="0" eaLnBrk="1" latinLnBrk="0" hangingPunct="1">
        <a:spcBef>
          <a:spcPct val="20000"/>
        </a:spcBef>
        <a:buFont typeface="Wingdings 2" pitchFamily="18" charset="2"/>
        <a:buChar char="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023" indent="-288001" algn="l" defTabSz="1152007" rtl="0" eaLnBrk="1" latinLnBrk="0" hangingPunct="1">
        <a:spcBef>
          <a:spcPct val="20000"/>
        </a:spcBef>
        <a:buFont typeface="Wingdings 2" pitchFamily="18" charset="2"/>
        <a:buChar char="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026" indent="-288001" algn="l" defTabSz="1152007" rtl="0" eaLnBrk="1" latinLnBrk="0" hangingPunct="1">
        <a:spcBef>
          <a:spcPct val="20000"/>
        </a:spcBef>
        <a:buFont typeface="Wingdings 2" pitchFamily="18" charset="2"/>
        <a:buChar char="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007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03" algn="l" defTabSz="1152007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007" algn="l" defTabSz="1152007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010" algn="l" defTabSz="1152007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012" algn="l" defTabSz="1152007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015" algn="l" defTabSz="1152007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019" algn="l" defTabSz="1152007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021" algn="l" defTabSz="1152007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023" algn="l" defTabSz="1152007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72">
          <p15:clr>
            <a:srgbClr val="F26B43"/>
          </p15:clr>
        </p15:guide>
        <p15:guide id="4" pos="6985">
          <p15:clr>
            <a:srgbClr val="F26B43"/>
          </p15:clr>
        </p15:guide>
        <p15:guide id="5" orient="horz" pos="227">
          <p15:clr>
            <a:srgbClr val="F26B43"/>
          </p15:clr>
        </p15:guide>
        <p15:guide id="6" orient="horz" pos="3855">
          <p15:clr>
            <a:srgbClr val="F26B43"/>
          </p15:clr>
        </p15:guide>
        <p15:guide id="7" pos="2358">
          <p15:clr>
            <a:srgbClr val="F26B43"/>
          </p15:clr>
        </p15:guide>
        <p15:guide id="10" pos="4672">
          <p15:clr>
            <a:srgbClr val="F26B43"/>
          </p15:clr>
        </p15:guide>
        <p15:guide id="11" pos="4899">
          <p15:clr>
            <a:srgbClr val="F26B43"/>
          </p15:clr>
        </p15:guide>
        <p15:guide id="13" orient="horz" pos="862">
          <p15:clr>
            <a:srgbClr val="F26B43"/>
          </p15:clr>
        </p15:guide>
        <p15:guide id="17" orient="horz" pos="726">
          <p15:clr>
            <a:srgbClr val="F26B43"/>
          </p15:clr>
        </p15:guide>
        <p15:guide id="20" pos="258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749086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 title="slide titel"/>
          <p:cNvSpPr>
            <a:spLocks noGrp="1"/>
          </p:cNvSpPr>
          <p:nvPr>
            <p:ph type="title"/>
          </p:nvPr>
        </p:nvSpPr>
        <p:spPr>
          <a:xfrm>
            <a:off x="431799" y="360000"/>
            <a:ext cx="6985001" cy="432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88688" y="6119813"/>
            <a:ext cx="431800" cy="360362"/>
          </a:xfrm>
          <a:prstGeom prst="rect">
            <a:avLst/>
          </a:prstGeom>
        </p:spPr>
        <p:txBody>
          <a:bodyPr vert="horz" wrap="square" lIns="0" tIns="0" rIns="72000" bIns="0" rtlCol="0" anchor="ctr">
            <a:noAutofit/>
          </a:bodyPr>
          <a:lstStyle>
            <a:lvl1pPr>
              <a:defRPr lang="nl-NL" sz="1200" smtClean="0">
                <a:solidFill>
                  <a:schemeClr val="bg2">
                    <a:lumMod val="75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pPr algn="r"/>
            <a:fld id="{F791CC35-585A-460F-828B-2CA8A8646522}" type="slidenum">
              <a:rPr lang="nl-NL" smtClean="0"/>
              <a:pPr algn="r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19058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  <p:sldLayoutId id="2147484053" r:id="rId5"/>
    <p:sldLayoutId id="2147484054" r:id="rId6"/>
    <p:sldLayoutId id="2147484055" r:id="rId7"/>
    <p:sldLayoutId id="2147484056" r:id="rId8"/>
    <p:sldLayoutId id="2147484057" r:id="rId9"/>
    <p:sldLayoutId id="2147484058" r:id="rId10"/>
    <p:sldLayoutId id="2147484059" r:id="rId11"/>
    <p:sldLayoutId id="2147484060" r:id="rId12"/>
    <p:sldLayoutId id="2147484242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1152007" rtl="0" eaLnBrk="1" latinLnBrk="0" hangingPunct="1">
        <a:lnSpc>
          <a:spcPct val="100000"/>
        </a:lnSpc>
        <a:spcBef>
          <a:spcPct val="0"/>
        </a:spcBef>
        <a:buNone/>
        <a:defRPr lang="en-US" sz="3200" b="0" kern="1200" spc="40" baseline="0" dirty="0">
          <a:solidFill>
            <a:schemeClr val="tx2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1pPr>
    </p:titleStyle>
    <p:bodyStyle>
      <a:lvl1pPr marL="268288" indent="-268288" algn="l" defTabSz="115200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85000"/>
        <a:buFontTx/>
        <a:buBlip>
          <a:blip r:embed="rId18"/>
        </a:buBlip>
        <a:defRPr sz="2250" kern="1200" spc="60" baseline="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1pPr>
      <a:lvl2pPr marL="358775" indent="-182563" algn="l" defTabSz="1152007" rtl="0" eaLnBrk="1" latinLnBrk="0" hangingPunct="1">
        <a:lnSpc>
          <a:spcPct val="90000"/>
        </a:lnSpc>
        <a:spcBef>
          <a:spcPts val="629"/>
        </a:spcBef>
        <a:buClr>
          <a:schemeClr val="tx1">
            <a:lumMod val="60000"/>
            <a:lumOff val="40000"/>
          </a:schemeClr>
        </a:buClr>
        <a:buSzPct val="75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6213" algn="l" defTabSz="1152007" rtl="0" eaLnBrk="1" latinLnBrk="0" hangingPunct="1">
        <a:lnSpc>
          <a:spcPct val="90000"/>
        </a:lnSpc>
        <a:spcBef>
          <a:spcPts val="629"/>
        </a:spcBef>
        <a:buClr>
          <a:schemeClr val="tx1">
            <a:lumMod val="60000"/>
            <a:lumOff val="40000"/>
          </a:schemeClr>
        </a:buClr>
        <a:buSzPct val="75000"/>
        <a:buFont typeface="Wingdings" panose="05000000000000000000" pitchFamily="2" charset="2"/>
        <a:buChar char="§"/>
        <a:tabLst>
          <a:tab pos="1198017" algn="l"/>
        </a:tabLst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27063" indent="-92075" algn="l" defTabSz="1152007" rtl="0" eaLnBrk="1" latinLnBrk="0" hangingPunct="1">
        <a:lnSpc>
          <a:spcPct val="90000"/>
        </a:lnSpc>
        <a:spcBef>
          <a:spcPts val="629"/>
        </a:spcBef>
        <a:buClr>
          <a:schemeClr val="tx1">
            <a:lumMod val="60000"/>
            <a:lumOff val="40000"/>
          </a:schemeClr>
        </a:buClr>
        <a:buSzPct val="75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92075" algn="l" defTabSz="1152007" rtl="0" eaLnBrk="1" latinLnBrk="0" hangingPunct="1">
        <a:lnSpc>
          <a:spcPct val="90000"/>
        </a:lnSpc>
        <a:spcBef>
          <a:spcPts val="629"/>
        </a:spcBef>
        <a:buClr>
          <a:schemeClr val="tx1">
            <a:lumMod val="60000"/>
            <a:lumOff val="40000"/>
          </a:schemeClr>
        </a:buClr>
        <a:buSzPct val="75000"/>
        <a:buFont typeface="Wingdings" panose="05000000000000000000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168017" indent="-288001" algn="l" defTabSz="1152007" rtl="0" eaLnBrk="1" latinLnBrk="0" hangingPunct="1">
        <a:spcBef>
          <a:spcPct val="20000"/>
        </a:spcBef>
        <a:buFont typeface="Wingdings 2" pitchFamily="18" charset="2"/>
        <a:buChar char="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020" indent="-288001" algn="l" defTabSz="1152007" rtl="0" eaLnBrk="1" latinLnBrk="0" hangingPunct="1">
        <a:spcBef>
          <a:spcPct val="20000"/>
        </a:spcBef>
        <a:buFont typeface="Wingdings 2" pitchFamily="18" charset="2"/>
        <a:buChar char="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023" indent="-288001" algn="l" defTabSz="1152007" rtl="0" eaLnBrk="1" latinLnBrk="0" hangingPunct="1">
        <a:spcBef>
          <a:spcPct val="20000"/>
        </a:spcBef>
        <a:buFont typeface="Wingdings 2" pitchFamily="18" charset="2"/>
        <a:buChar char="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026" indent="-288001" algn="l" defTabSz="1152007" rtl="0" eaLnBrk="1" latinLnBrk="0" hangingPunct="1">
        <a:spcBef>
          <a:spcPct val="20000"/>
        </a:spcBef>
        <a:buFont typeface="Wingdings 2" pitchFamily="18" charset="2"/>
        <a:buChar char="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007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03" algn="l" defTabSz="1152007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007" algn="l" defTabSz="1152007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010" algn="l" defTabSz="1152007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012" algn="l" defTabSz="1152007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015" algn="l" defTabSz="1152007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019" algn="l" defTabSz="1152007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021" algn="l" defTabSz="1152007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023" algn="l" defTabSz="1152007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72">
          <p15:clr>
            <a:srgbClr val="F26B43"/>
          </p15:clr>
        </p15:guide>
        <p15:guide id="4" pos="6985">
          <p15:clr>
            <a:srgbClr val="F26B43"/>
          </p15:clr>
        </p15:guide>
        <p15:guide id="5" orient="horz" pos="227">
          <p15:clr>
            <a:srgbClr val="F26B43"/>
          </p15:clr>
        </p15:guide>
        <p15:guide id="6" orient="horz" pos="3855">
          <p15:clr>
            <a:srgbClr val="F26B43"/>
          </p15:clr>
        </p15:guide>
        <p15:guide id="7" pos="2358">
          <p15:clr>
            <a:srgbClr val="F26B43"/>
          </p15:clr>
        </p15:guide>
        <p15:guide id="10" pos="4672">
          <p15:clr>
            <a:srgbClr val="F26B43"/>
          </p15:clr>
        </p15:guide>
        <p15:guide id="11" pos="4899">
          <p15:clr>
            <a:srgbClr val="F26B43"/>
          </p15:clr>
        </p15:guide>
        <p15:guide id="13" orient="horz" pos="862">
          <p15:clr>
            <a:srgbClr val="F26B43"/>
          </p15:clr>
        </p15:guide>
        <p15:guide id="17" orient="horz" pos="726">
          <p15:clr>
            <a:srgbClr val="F26B43"/>
          </p15:clr>
        </p15:guide>
        <p15:guide id="20" pos="258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490866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 title="slide titel"/>
          <p:cNvSpPr>
            <a:spLocks noGrp="1"/>
          </p:cNvSpPr>
          <p:nvPr>
            <p:ph type="title"/>
          </p:nvPr>
        </p:nvSpPr>
        <p:spPr>
          <a:xfrm>
            <a:off x="431800" y="360000"/>
            <a:ext cx="6985001" cy="432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88688" y="6119813"/>
            <a:ext cx="431800" cy="360362"/>
          </a:xfrm>
          <a:prstGeom prst="rect">
            <a:avLst/>
          </a:prstGeom>
        </p:spPr>
        <p:txBody>
          <a:bodyPr vert="horz" wrap="square" lIns="0" tIns="0" rIns="72000" bIns="0" rtlCol="0" anchor="ctr">
            <a:noAutofit/>
          </a:bodyPr>
          <a:lstStyle>
            <a:lvl1pPr>
              <a:defRPr lang="nl-NL" sz="1200" smtClean="0">
                <a:solidFill>
                  <a:schemeClr val="bg2">
                    <a:lumMod val="75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pPr algn="r"/>
            <a:fld id="{F791CC35-585A-460F-828B-2CA8A8646522}" type="slidenum">
              <a:rPr lang="nl-NL" smtClean="0"/>
              <a:pPr algn="r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457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4" r:id="rId3"/>
    <p:sldLayoutId id="2147484065" r:id="rId4"/>
    <p:sldLayoutId id="2147484066" r:id="rId5"/>
    <p:sldLayoutId id="2147484067" r:id="rId6"/>
    <p:sldLayoutId id="2147484068" r:id="rId7"/>
    <p:sldLayoutId id="2147484069" r:id="rId8"/>
    <p:sldLayoutId id="2147484070" r:id="rId9"/>
    <p:sldLayoutId id="2147484071" r:id="rId10"/>
    <p:sldLayoutId id="2147484072" r:id="rId11"/>
    <p:sldLayoutId id="2147484073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1151993" rtl="0" eaLnBrk="1" latinLnBrk="0" hangingPunct="1">
        <a:lnSpc>
          <a:spcPct val="100000"/>
        </a:lnSpc>
        <a:spcBef>
          <a:spcPct val="0"/>
        </a:spcBef>
        <a:buNone/>
        <a:defRPr lang="en-US" sz="3200" b="0" kern="1200" spc="40" baseline="0" dirty="0">
          <a:solidFill>
            <a:schemeClr val="tx2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1pPr>
    </p:titleStyle>
    <p:bodyStyle>
      <a:lvl1pPr marL="268285" indent="-268285" algn="l" defTabSz="115199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85000"/>
        <a:buFontTx/>
        <a:buBlip>
          <a:blip r:embed="rId17"/>
        </a:buBlip>
        <a:defRPr sz="2250" kern="1200" spc="60" baseline="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1pPr>
      <a:lvl2pPr marL="358771" indent="-182560" algn="l" defTabSz="1151993" rtl="0" eaLnBrk="1" latinLnBrk="0" hangingPunct="1">
        <a:lnSpc>
          <a:spcPct val="90000"/>
        </a:lnSpc>
        <a:spcBef>
          <a:spcPts val="629"/>
        </a:spcBef>
        <a:buClr>
          <a:schemeClr val="tx1">
            <a:lumMod val="60000"/>
            <a:lumOff val="40000"/>
          </a:schemeClr>
        </a:buClr>
        <a:buSzPct val="75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2" indent="-176211" algn="l" defTabSz="1151993" rtl="0" eaLnBrk="1" latinLnBrk="0" hangingPunct="1">
        <a:lnSpc>
          <a:spcPct val="90000"/>
        </a:lnSpc>
        <a:spcBef>
          <a:spcPts val="629"/>
        </a:spcBef>
        <a:buClr>
          <a:schemeClr val="tx1">
            <a:lumMod val="60000"/>
            <a:lumOff val="40000"/>
          </a:schemeClr>
        </a:buClr>
        <a:buSzPct val="75000"/>
        <a:buFont typeface="Wingdings" panose="05000000000000000000" pitchFamily="2" charset="2"/>
        <a:buChar char="§"/>
        <a:tabLst>
          <a:tab pos="1198002" algn="l"/>
        </a:tabLst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27055" indent="-92074" algn="l" defTabSz="1151993" rtl="0" eaLnBrk="1" latinLnBrk="0" hangingPunct="1">
        <a:lnSpc>
          <a:spcPct val="90000"/>
        </a:lnSpc>
        <a:spcBef>
          <a:spcPts val="629"/>
        </a:spcBef>
        <a:buClr>
          <a:schemeClr val="tx1">
            <a:lumMod val="60000"/>
            <a:lumOff val="40000"/>
          </a:schemeClr>
        </a:buClr>
        <a:buSzPct val="75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29" indent="-92074" algn="l" defTabSz="1151993" rtl="0" eaLnBrk="1" latinLnBrk="0" hangingPunct="1">
        <a:lnSpc>
          <a:spcPct val="90000"/>
        </a:lnSpc>
        <a:spcBef>
          <a:spcPts val="629"/>
        </a:spcBef>
        <a:buClr>
          <a:schemeClr val="tx1">
            <a:lumMod val="60000"/>
            <a:lumOff val="40000"/>
          </a:schemeClr>
        </a:buClr>
        <a:buSzPct val="75000"/>
        <a:buFont typeface="Wingdings" panose="05000000000000000000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167978" indent="-287997" algn="l" defTabSz="1151993" rtl="0" eaLnBrk="1" latinLnBrk="0" hangingPunct="1">
        <a:spcBef>
          <a:spcPct val="20000"/>
        </a:spcBef>
        <a:buFont typeface="Wingdings 2" pitchFamily="18" charset="2"/>
        <a:buChar char="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3973" indent="-287997" algn="l" defTabSz="1151993" rtl="0" eaLnBrk="1" latinLnBrk="0" hangingPunct="1">
        <a:spcBef>
          <a:spcPct val="20000"/>
        </a:spcBef>
        <a:buFont typeface="Wingdings 2" pitchFamily="18" charset="2"/>
        <a:buChar char="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19969" indent="-287997" algn="l" defTabSz="1151993" rtl="0" eaLnBrk="1" latinLnBrk="0" hangingPunct="1">
        <a:spcBef>
          <a:spcPct val="20000"/>
        </a:spcBef>
        <a:buFont typeface="Wingdings 2" pitchFamily="18" charset="2"/>
        <a:buChar char="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5965" indent="-287997" algn="l" defTabSz="1151993" rtl="0" eaLnBrk="1" latinLnBrk="0" hangingPunct="1">
        <a:spcBef>
          <a:spcPct val="20000"/>
        </a:spcBef>
        <a:buFont typeface="Wingdings 2" pitchFamily="18" charset="2"/>
        <a:buChar char="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1993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5996" algn="l" defTabSz="1151993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1993" algn="l" defTabSz="1151993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7989" algn="l" defTabSz="1151993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3984" algn="l" defTabSz="1151993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79980" algn="l" defTabSz="1151993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5976" algn="l" defTabSz="1151993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1971" algn="l" defTabSz="1151993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7966" algn="l" defTabSz="1151993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72">
          <p15:clr>
            <a:srgbClr val="F26B43"/>
          </p15:clr>
        </p15:guide>
        <p15:guide id="4" pos="6985">
          <p15:clr>
            <a:srgbClr val="F26B43"/>
          </p15:clr>
        </p15:guide>
        <p15:guide id="5" orient="horz" pos="227">
          <p15:clr>
            <a:srgbClr val="F26B43"/>
          </p15:clr>
        </p15:guide>
        <p15:guide id="6" orient="horz" pos="3855">
          <p15:clr>
            <a:srgbClr val="F26B43"/>
          </p15:clr>
        </p15:guide>
        <p15:guide id="7" pos="2358">
          <p15:clr>
            <a:srgbClr val="F26B43"/>
          </p15:clr>
        </p15:guide>
        <p15:guide id="10" pos="4672">
          <p15:clr>
            <a:srgbClr val="F26B43"/>
          </p15:clr>
        </p15:guide>
        <p15:guide id="11" pos="4899">
          <p15:clr>
            <a:srgbClr val="F26B43"/>
          </p15:clr>
        </p15:guide>
        <p15:guide id="13" orient="horz" pos="862">
          <p15:clr>
            <a:srgbClr val="F26B43"/>
          </p15:clr>
        </p15:guide>
        <p15:guide id="17" orient="horz" pos="726">
          <p15:clr>
            <a:srgbClr val="F26B43"/>
          </p15:clr>
        </p15:guide>
        <p15:guide id="20" pos="258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 title="slide titel"/>
          <p:cNvSpPr>
            <a:spLocks noGrp="1"/>
          </p:cNvSpPr>
          <p:nvPr>
            <p:ph type="title"/>
          </p:nvPr>
        </p:nvSpPr>
        <p:spPr>
          <a:xfrm>
            <a:off x="431800" y="360000"/>
            <a:ext cx="6985001" cy="432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88688" y="6119813"/>
            <a:ext cx="431800" cy="360362"/>
          </a:xfrm>
          <a:prstGeom prst="rect">
            <a:avLst/>
          </a:prstGeom>
        </p:spPr>
        <p:txBody>
          <a:bodyPr vert="horz" wrap="square" lIns="0" tIns="0" rIns="72000" bIns="0" rtlCol="0" anchor="ctr">
            <a:noAutofit/>
          </a:bodyPr>
          <a:lstStyle>
            <a:lvl1pPr>
              <a:defRPr lang="nl-NL" sz="1200" smtClean="0">
                <a:solidFill>
                  <a:schemeClr val="bg2">
                    <a:lumMod val="75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pPr algn="r"/>
            <a:fld id="{F791CC35-585A-460F-828B-2CA8A8646522}" type="slidenum">
              <a:rPr lang="nl-NL" smtClean="0"/>
              <a:pPr algn="r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457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6" r:id="rId1"/>
    <p:sldLayoutId id="2147484215" r:id="rId2"/>
    <p:sldLayoutId id="2147484204" r:id="rId3"/>
    <p:sldLayoutId id="2147484193" r:id="rId4"/>
    <p:sldLayoutId id="2147484182" r:id="rId5"/>
    <p:sldLayoutId id="2147484171" r:id="rId6"/>
    <p:sldLayoutId id="2147484160" r:id="rId7"/>
    <p:sldLayoutId id="2147484149" r:id="rId8"/>
    <p:sldLayoutId id="2147484138" r:id="rId9"/>
    <p:sldLayoutId id="2147484127" r:id="rId10"/>
    <p:sldLayoutId id="2147484228" r:id="rId11"/>
    <p:sldLayoutId id="2147484227" r:id="rId12"/>
    <p:sldLayoutId id="2147484094" r:id="rId13"/>
    <p:sldLayoutId id="2147484082" r:id="rId14"/>
    <p:sldLayoutId id="2147484085" r:id="rId15"/>
    <p:sldLayoutId id="2147484243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1151993" rtl="0" eaLnBrk="1" latinLnBrk="0" hangingPunct="1">
        <a:lnSpc>
          <a:spcPct val="100000"/>
        </a:lnSpc>
        <a:spcBef>
          <a:spcPct val="0"/>
        </a:spcBef>
        <a:buNone/>
        <a:defRPr lang="en-US" sz="3200" b="0" kern="1200" spc="40" baseline="0" dirty="0">
          <a:solidFill>
            <a:schemeClr val="tx2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1pPr>
    </p:titleStyle>
    <p:bodyStyle>
      <a:lvl1pPr marL="268285" indent="-268285" algn="l" defTabSz="115199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85000"/>
        <a:buFontTx/>
        <a:buBlip>
          <a:blip r:embed="rId21"/>
        </a:buBlip>
        <a:defRPr sz="2250" kern="1200" spc="60" baseline="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1pPr>
      <a:lvl2pPr marL="358771" indent="-182560" algn="l" defTabSz="1151993" rtl="0" eaLnBrk="1" latinLnBrk="0" hangingPunct="1">
        <a:lnSpc>
          <a:spcPct val="90000"/>
        </a:lnSpc>
        <a:spcBef>
          <a:spcPts val="629"/>
        </a:spcBef>
        <a:buClr>
          <a:schemeClr val="tx1">
            <a:lumMod val="60000"/>
            <a:lumOff val="40000"/>
          </a:schemeClr>
        </a:buClr>
        <a:buSzPct val="75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2" indent="-176211" algn="l" defTabSz="1151993" rtl="0" eaLnBrk="1" latinLnBrk="0" hangingPunct="1">
        <a:lnSpc>
          <a:spcPct val="90000"/>
        </a:lnSpc>
        <a:spcBef>
          <a:spcPts val="629"/>
        </a:spcBef>
        <a:buClr>
          <a:schemeClr val="tx1">
            <a:lumMod val="60000"/>
            <a:lumOff val="40000"/>
          </a:schemeClr>
        </a:buClr>
        <a:buSzPct val="75000"/>
        <a:buFont typeface="Wingdings" panose="05000000000000000000" pitchFamily="2" charset="2"/>
        <a:buChar char="§"/>
        <a:tabLst>
          <a:tab pos="1198002" algn="l"/>
        </a:tabLst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27055" indent="-92074" algn="l" defTabSz="1151993" rtl="0" eaLnBrk="1" latinLnBrk="0" hangingPunct="1">
        <a:lnSpc>
          <a:spcPct val="90000"/>
        </a:lnSpc>
        <a:spcBef>
          <a:spcPts val="629"/>
        </a:spcBef>
        <a:buClr>
          <a:schemeClr val="tx1">
            <a:lumMod val="60000"/>
            <a:lumOff val="40000"/>
          </a:schemeClr>
        </a:buClr>
        <a:buSzPct val="75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29" indent="-92074" algn="l" defTabSz="1151993" rtl="0" eaLnBrk="1" latinLnBrk="0" hangingPunct="1">
        <a:lnSpc>
          <a:spcPct val="90000"/>
        </a:lnSpc>
        <a:spcBef>
          <a:spcPts val="629"/>
        </a:spcBef>
        <a:buClr>
          <a:schemeClr val="tx1">
            <a:lumMod val="60000"/>
            <a:lumOff val="40000"/>
          </a:schemeClr>
        </a:buClr>
        <a:buSzPct val="75000"/>
        <a:buFont typeface="Wingdings" panose="05000000000000000000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167978" indent="-287997" algn="l" defTabSz="1151993" rtl="0" eaLnBrk="1" latinLnBrk="0" hangingPunct="1">
        <a:spcBef>
          <a:spcPct val="20000"/>
        </a:spcBef>
        <a:buFont typeface="Wingdings 2" pitchFamily="18" charset="2"/>
        <a:buChar char="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3973" indent="-287997" algn="l" defTabSz="1151993" rtl="0" eaLnBrk="1" latinLnBrk="0" hangingPunct="1">
        <a:spcBef>
          <a:spcPct val="20000"/>
        </a:spcBef>
        <a:buFont typeface="Wingdings 2" pitchFamily="18" charset="2"/>
        <a:buChar char="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19969" indent="-287997" algn="l" defTabSz="1151993" rtl="0" eaLnBrk="1" latinLnBrk="0" hangingPunct="1">
        <a:spcBef>
          <a:spcPct val="20000"/>
        </a:spcBef>
        <a:buFont typeface="Wingdings 2" pitchFamily="18" charset="2"/>
        <a:buChar char="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5965" indent="-287997" algn="l" defTabSz="1151993" rtl="0" eaLnBrk="1" latinLnBrk="0" hangingPunct="1">
        <a:spcBef>
          <a:spcPct val="20000"/>
        </a:spcBef>
        <a:buFont typeface="Wingdings 2" pitchFamily="18" charset="2"/>
        <a:buChar char="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1993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5996" algn="l" defTabSz="1151993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1993" algn="l" defTabSz="1151993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7989" algn="l" defTabSz="1151993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3984" algn="l" defTabSz="1151993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79980" algn="l" defTabSz="1151993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5976" algn="l" defTabSz="1151993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1971" algn="l" defTabSz="1151993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7966" algn="l" defTabSz="1151993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72">
          <p15:clr>
            <a:srgbClr val="F26B43"/>
          </p15:clr>
        </p15:guide>
        <p15:guide id="4" pos="6985">
          <p15:clr>
            <a:srgbClr val="F26B43"/>
          </p15:clr>
        </p15:guide>
        <p15:guide id="5" orient="horz" pos="227">
          <p15:clr>
            <a:srgbClr val="F26B43"/>
          </p15:clr>
        </p15:guide>
        <p15:guide id="6" orient="horz" pos="3855">
          <p15:clr>
            <a:srgbClr val="F26B43"/>
          </p15:clr>
        </p15:guide>
        <p15:guide id="7" pos="2358">
          <p15:clr>
            <a:srgbClr val="F26B43"/>
          </p15:clr>
        </p15:guide>
        <p15:guide id="10" pos="4672">
          <p15:clr>
            <a:srgbClr val="F26B43"/>
          </p15:clr>
        </p15:guide>
        <p15:guide id="11" pos="4899">
          <p15:clr>
            <a:srgbClr val="F26B43"/>
          </p15:clr>
        </p15:guide>
        <p15:guide id="13" orient="horz" pos="862">
          <p15:clr>
            <a:srgbClr val="F26B43"/>
          </p15:clr>
        </p15:guide>
        <p15:guide id="17" orient="horz" pos="726">
          <p15:clr>
            <a:srgbClr val="F26B43"/>
          </p15:clr>
        </p15:guide>
        <p15:guide id="20" pos="258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4908664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 title="slide titel"/>
          <p:cNvSpPr>
            <a:spLocks noGrp="1"/>
          </p:cNvSpPr>
          <p:nvPr>
            <p:ph type="title"/>
          </p:nvPr>
        </p:nvSpPr>
        <p:spPr>
          <a:xfrm>
            <a:off x="431801" y="360000"/>
            <a:ext cx="6985001" cy="432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88688" y="6119813"/>
            <a:ext cx="431800" cy="360362"/>
          </a:xfrm>
          <a:prstGeom prst="rect">
            <a:avLst/>
          </a:prstGeom>
        </p:spPr>
        <p:txBody>
          <a:bodyPr vert="horz" wrap="square" lIns="0" tIns="0" rIns="72000" bIns="0" rtlCol="0" anchor="ctr">
            <a:noAutofit/>
          </a:bodyPr>
          <a:lstStyle>
            <a:lvl1pPr>
              <a:defRPr lang="nl-NL" sz="1200" smtClean="0">
                <a:solidFill>
                  <a:schemeClr val="bg2">
                    <a:lumMod val="75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pPr algn="r"/>
            <a:fld id="{F791CC35-585A-460F-828B-2CA8A8646522}" type="slidenum">
              <a:rPr lang="nl-NL" smtClean="0"/>
              <a:pPr algn="r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53186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0" r:id="rId1"/>
    <p:sldLayoutId id="2147484231" r:id="rId2"/>
    <p:sldLayoutId id="2147484232" r:id="rId3"/>
    <p:sldLayoutId id="2147484233" r:id="rId4"/>
    <p:sldLayoutId id="2147484234" r:id="rId5"/>
    <p:sldLayoutId id="2147484235" r:id="rId6"/>
    <p:sldLayoutId id="2147484236" r:id="rId7"/>
    <p:sldLayoutId id="2147484237" r:id="rId8"/>
    <p:sldLayoutId id="2147484238" r:id="rId9"/>
    <p:sldLayoutId id="2147484239" r:id="rId10"/>
    <p:sldLayoutId id="2147484240" r:id="rId11"/>
    <p:sldLayoutId id="2147484241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1151979" rtl="0" eaLnBrk="1" latinLnBrk="0" hangingPunct="1">
        <a:lnSpc>
          <a:spcPct val="100000"/>
        </a:lnSpc>
        <a:spcBef>
          <a:spcPct val="0"/>
        </a:spcBef>
        <a:buNone/>
        <a:defRPr lang="en-US" sz="3200" b="0" kern="1200" spc="40" baseline="0" dirty="0">
          <a:solidFill>
            <a:schemeClr val="tx2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1pPr>
    </p:titleStyle>
    <p:bodyStyle>
      <a:lvl1pPr marL="268282" indent="-268282" algn="l" defTabSz="115197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85000"/>
        <a:buFontTx/>
        <a:buBlip>
          <a:blip r:embed="rId17"/>
        </a:buBlip>
        <a:defRPr sz="2250" kern="1200" spc="60" baseline="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1pPr>
      <a:lvl2pPr marL="358766" indent="-182558" algn="l" defTabSz="1151979" rtl="0" eaLnBrk="1" latinLnBrk="0" hangingPunct="1">
        <a:lnSpc>
          <a:spcPct val="90000"/>
        </a:lnSpc>
        <a:spcBef>
          <a:spcPts val="629"/>
        </a:spcBef>
        <a:buClr>
          <a:schemeClr val="tx1">
            <a:lumMod val="60000"/>
            <a:lumOff val="40000"/>
          </a:schemeClr>
        </a:buClr>
        <a:buSzPct val="75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75" indent="-176209" algn="l" defTabSz="1151979" rtl="0" eaLnBrk="1" latinLnBrk="0" hangingPunct="1">
        <a:lnSpc>
          <a:spcPct val="90000"/>
        </a:lnSpc>
        <a:spcBef>
          <a:spcPts val="629"/>
        </a:spcBef>
        <a:buClr>
          <a:schemeClr val="tx1">
            <a:lumMod val="60000"/>
            <a:lumOff val="40000"/>
          </a:schemeClr>
        </a:buClr>
        <a:buSzPct val="75000"/>
        <a:buFont typeface="Wingdings" panose="05000000000000000000" pitchFamily="2" charset="2"/>
        <a:buChar char="§"/>
        <a:tabLst>
          <a:tab pos="1197988" algn="l"/>
        </a:tabLst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27047" indent="-92073" algn="l" defTabSz="1151979" rtl="0" eaLnBrk="1" latinLnBrk="0" hangingPunct="1">
        <a:lnSpc>
          <a:spcPct val="90000"/>
        </a:lnSpc>
        <a:spcBef>
          <a:spcPts val="629"/>
        </a:spcBef>
        <a:buClr>
          <a:schemeClr val="tx1">
            <a:lumMod val="60000"/>
            <a:lumOff val="40000"/>
          </a:schemeClr>
        </a:buClr>
        <a:buSzPct val="75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20" indent="-92073" algn="l" defTabSz="1151979" rtl="0" eaLnBrk="1" latinLnBrk="0" hangingPunct="1">
        <a:lnSpc>
          <a:spcPct val="90000"/>
        </a:lnSpc>
        <a:spcBef>
          <a:spcPts val="629"/>
        </a:spcBef>
        <a:buClr>
          <a:schemeClr val="tx1">
            <a:lumMod val="60000"/>
            <a:lumOff val="40000"/>
          </a:schemeClr>
        </a:buClr>
        <a:buSzPct val="75000"/>
        <a:buFont typeface="Wingdings" panose="05000000000000000000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3167939" indent="-287993" algn="l" defTabSz="1151979" rtl="0" eaLnBrk="1" latinLnBrk="0" hangingPunct="1">
        <a:spcBef>
          <a:spcPct val="20000"/>
        </a:spcBef>
        <a:buFont typeface="Wingdings 2" pitchFamily="18" charset="2"/>
        <a:buChar char="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3927" indent="-287993" algn="l" defTabSz="1151979" rtl="0" eaLnBrk="1" latinLnBrk="0" hangingPunct="1">
        <a:spcBef>
          <a:spcPct val="20000"/>
        </a:spcBef>
        <a:buFont typeface="Wingdings 2" pitchFamily="18" charset="2"/>
        <a:buChar char="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19916" indent="-287993" algn="l" defTabSz="1151979" rtl="0" eaLnBrk="1" latinLnBrk="0" hangingPunct="1">
        <a:spcBef>
          <a:spcPct val="20000"/>
        </a:spcBef>
        <a:buFont typeface="Wingdings 2" pitchFamily="18" charset="2"/>
        <a:buChar char="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5905" indent="-287993" algn="l" defTabSz="1151979" rtl="0" eaLnBrk="1" latinLnBrk="0" hangingPunct="1">
        <a:spcBef>
          <a:spcPct val="20000"/>
        </a:spcBef>
        <a:buFont typeface="Wingdings 2" pitchFamily="18" charset="2"/>
        <a:buChar char="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1979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5989" algn="l" defTabSz="1151979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1979" algn="l" defTabSz="1151979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7968" algn="l" defTabSz="1151979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3955" algn="l" defTabSz="1151979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79945" algn="l" defTabSz="1151979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5933" algn="l" defTabSz="1151979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1921" algn="l" defTabSz="1151979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7909" algn="l" defTabSz="1151979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72">
          <p15:clr>
            <a:srgbClr val="F26B43"/>
          </p15:clr>
        </p15:guide>
        <p15:guide id="4" pos="6985">
          <p15:clr>
            <a:srgbClr val="F26B43"/>
          </p15:clr>
        </p15:guide>
        <p15:guide id="5" orient="horz" pos="227">
          <p15:clr>
            <a:srgbClr val="F26B43"/>
          </p15:clr>
        </p15:guide>
        <p15:guide id="6" orient="horz" pos="3855">
          <p15:clr>
            <a:srgbClr val="F26B43"/>
          </p15:clr>
        </p15:guide>
        <p15:guide id="7" pos="2358">
          <p15:clr>
            <a:srgbClr val="F26B43"/>
          </p15:clr>
        </p15:guide>
        <p15:guide id="10" pos="4672">
          <p15:clr>
            <a:srgbClr val="F26B43"/>
          </p15:clr>
        </p15:guide>
        <p15:guide id="11" pos="4899">
          <p15:clr>
            <a:srgbClr val="F26B43"/>
          </p15:clr>
        </p15:guide>
        <p15:guide id="13" orient="horz" pos="862">
          <p15:clr>
            <a:srgbClr val="F26B43"/>
          </p15:clr>
        </p15:guide>
        <p15:guide id="17" orient="horz" pos="726">
          <p15:clr>
            <a:srgbClr val="F26B43"/>
          </p15:clr>
        </p15:guide>
        <p15:guide id="20" pos="258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microsoft.com/office/2007/relationships/hdphoto" Target="../media/hdphoto1.wdp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3.xml"/><Relationship Id="rId6" Type="http://schemas.microsoft.com/office/2007/relationships/hdphoto" Target="../media/hdphoto1.wdp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57.png"/><Relationship Id="rId7" Type="http://schemas.openxmlformats.org/officeDocument/2006/relationships/image" Target="../media/image15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14.png"/><Relationship Id="rId5" Type="http://schemas.openxmlformats.org/officeDocument/2006/relationships/image" Target="../media/image58.png"/><Relationship Id="rId4" Type="http://schemas.openxmlformats.org/officeDocument/2006/relationships/hyperlink" Target="https://dashboards.sdgindex.org/" TargetMode="Externa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13" Type="http://schemas.microsoft.com/office/2007/relationships/hdphoto" Target="../media/hdphoto2.wdp"/><Relationship Id="rId3" Type="http://schemas.microsoft.com/office/2007/relationships/hdphoto" Target="../media/hdphoto7.wdp"/><Relationship Id="rId7" Type="http://schemas.microsoft.com/office/2007/relationships/hdphoto" Target="../media/hdphoto9.wdp"/><Relationship Id="rId12" Type="http://schemas.openxmlformats.org/officeDocument/2006/relationships/image" Target="../media/image45.png"/><Relationship Id="rId2" Type="http://schemas.openxmlformats.org/officeDocument/2006/relationships/image" Target="../media/image59.png"/><Relationship Id="rId16" Type="http://schemas.microsoft.com/office/2007/relationships/hdphoto" Target="../media/hdphoto1.wdp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61.png"/><Relationship Id="rId11" Type="http://schemas.microsoft.com/office/2007/relationships/hdphoto" Target="../media/hdphoto11.wdp"/><Relationship Id="rId5" Type="http://schemas.microsoft.com/office/2007/relationships/hdphoto" Target="../media/hdphoto8.wdp"/><Relationship Id="rId15" Type="http://schemas.openxmlformats.org/officeDocument/2006/relationships/image" Target="../media/image15.png"/><Relationship Id="rId10" Type="http://schemas.openxmlformats.org/officeDocument/2006/relationships/image" Target="../media/image63.png"/><Relationship Id="rId4" Type="http://schemas.openxmlformats.org/officeDocument/2006/relationships/image" Target="../media/image60.png"/><Relationship Id="rId9" Type="http://schemas.microsoft.com/office/2007/relationships/hdphoto" Target="../media/hdphoto10.wdp"/><Relationship Id="rId1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12.wdp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hdphoto" Target="../media/hdphoto15.wdp"/><Relationship Id="rId13" Type="http://schemas.microsoft.com/office/2007/relationships/hdphoto" Target="../media/hdphoto17.wdp"/><Relationship Id="rId18" Type="http://schemas.microsoft.com/office/2007/relationships/hdphoto" Target="../media/hdphoto1.wdp"/><Relationship Id="rId3" Type="http://schemas.openxmlformats.org/officeDocument/2006/relationships/image" Target="../media/image68.png"/><Relationship Id="rId7" Type="http://schemas.openxmlformats.org/officeDocument/2006/relationships/image" Target="../media/image70.png"/><Relationship Id="rId12" Type="http://schemas.openxmlformats.org/officeDocument/2006/relationships/image" Target="../media/image72.png"/><Relationship Id="rId17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10.xml"/><Relationship Id="rId6" Type="http://schemas.microsoft.com/office/2007/relationships/hdphoto" Target="../media/hdphoto14.wdp"/><Relationship Id="rId11" Type="http://schemas.openxmlformats.org/officeDocument/2006/relationships/image" Target="../media/image13.png"/><Relationship Id="rId5" Type="http://schemas.openxmlformats.org/officeDocument/2006/relationships/image" Target="../media/image69.png"/><Relationship Id="rId15" Type="http://schemas.microsoft.com/office/2007/relationships/hdphoto" Target="../media/hdphoto18.wdp"/><Relationship Id="rId10" Type="http://schemas.microsoft.com/office/2007/relationships/hdphoto" Target="../media/hdphoto16.wdp"/><Relationship Id="rId4" Type="http://schemas.microsoft.com/office/2007/relationships/hdphoto" Target="../media/hdphoto13.wdp"/><Relationship Id="rId9" Type="http://schemas.openxmlformats.org/officeDocument/2006/relationships/image" Target="../media/image71.png"/><Relationship Id="rId14" Type="http://schemas.openxmlformats.org/officeDocument/2006/relationships/image" Target="../media/image73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microsoft.com/office/2007/relationships/hdphoto" Target="../media/hdphoto23.wdp"/><Relationship Id="rId18" Type="http://schemas.microsoft.com/office/2007/relationships/hdphoto" Target="../media/hdphoto1.wdp"/><Relationship Id="rId3" Type="http://schemas.openxmlformats.org/officeDocument/2006/relationships/image" Target="../media/image74.png"/><Relationship Id="rId7" Type="http://schemas.microsoft.com/office/2007/relationships/hdphoto" Target="../media/hdphoto20.wdp"/><Relationship Id="rId12" Type="http://schemas.openxmlformats.org/officeDocument/2006/relationships/image" Target="../media/image79.png"/><Relationship Id="rId17" Type="http://schemas.openxmlformats.org/officeDocument/2006/relationships/image" Target="../media/image15.png"/><Relationship Id="rId2" Type="http://schemas.openxmlformats.org/officeDocument/2006/relationships/hyperlink" Target="http://www.efrag.org" TargetMode="Externa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76.png"/><Relationship Id="rId11" Type="http://schemas.microsoft.com/office/2007/relationships/hdphoto" Target="../media/hdphoto22.wdp"/><Relationship Id="rId5" Type="http://schemas.openxmlformats.org/officeDocument/2006/relationships/image" Target="../media/image75.png"/><Relationship Id="rId15" Type="http://schemas.microsoft.com/office/2007/relationships/hdphoto" Target="../media/hdphoto24.wdp"/><Relationship Id="rId10" Type="http://schemas.openxmlformats.org/officeDocument/2006/relationships/image" Target="../media/image78.png"/><Relationship Id="rId4" Type="http://schemas.microsoft.com/office/2007/relationships/hdphoto" Target="../media/hdphoto19.wdp"/><Relationship Id="rId9" Type="http://schemas.microsoft.com/office/2007/relationships/hdphoto" Target="../media/hdphoto21.wdp"/><Relationship Id="rId14" Type="http://schemas.openxmlformats.org/officeDocument/2006/relationships/image" Target="../media/image8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4" Type="http://schemas.microsoft.com/office/2007/relationships/hdphoto" Target="../media/hdphoto1.wdp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image" Target="../media/image14.png"/><Relationship Id="rId7" Type="http://schemas.openxmlformats.org/officeDocument/2006/relationships/image" Target="../media/image8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3.png"/><Relationship Id="rId5" Type="http://schemas.microsoft.com/office/2007/relationships/hdphoto" Target="../media/hdphoto1.wdp"/><Relationship Id="rId4" Type="http://schemas.openxmlformats.org/officeDocument/2006/relationships/image" Target="../media/image15.png"/><Relationship Id="rId9" Type="http://schemas.openxmlformats.org/officeDocument/2006/relationships/image" Target="../media/image8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image" Target="../media/image87.png"/><Relationship Id="rId7" Type="http://schemas.openxmlformats.org/officeDocument/2006/relationships/image" Target="../media/image88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0.xml"/><Relationship Id="rId6" Type="http://schemas.microsoft.com/office/2007/relationships/hdphoto" Target="../media/hdphoto1.wdp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0.png"/><Relationship Id="rId4" Type="http://schemas.openxmlformats.org/officeDocument/2006/relationships/image" Target="../media/image75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91.png"/><Relationship Id="rId7" Type="http://schemas.openxmlformats.org/officeDocument/2006/relationships/image" Target="../media/image9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4.jpeg"/><Relationship Id="rId5" Type="http://schemas.openxmlformats.org/officeDocument/2006/relationships/image" Target="../media/image93.jpeg"/><Relationship Id="rId4" Type="http://schemas.openxmlformats.org/officeDocument/2006/relationships/image" Target="../media/image9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95.png"/><Relationship Id="rId4" Type="http://schemas.openxmlformats.org/officeDocument/2006/relationships/image" Target="../media/image9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96.emf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98.png"/><Relationship Id="rId4" Type="http://schemas.openxmlformats.org/officeDocument/2006/relationships/image" Target="../media/image97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10.xml"/><Relationship Id="rId5" Type="http://schemas.microsoft.com/office/2007/relationships/hdphoto" Target="../media/hdphoto1.wdp"/><Relationship Id="rId4" Type="http://schemas.openxmlformats.org/officeDocument/2006/relationships/image" Target="../media/image15.png"/></Relationships>
</file>

<file path=ppt/slides/_rels/slide34.xml.rels><?xml version="1.0" encoding="UTF-8" standalone="yes"?>
<Relationships xmlns="http://schemas.openxmlformats.org/package/2006/relationships"><Relationship Id="rId8" Type="http://schemas.microsoft.com/office/2007/relationships/hdphoto" Target="../media/hdphoto15.wdp"/><Relationship Id="rId13" Type="http://schemas.microsoft.com/office/2007/relationships/hdphoto" Target="../media/hdphoto17.wdp"/><Relationship Id="rId18" Type="http://schemas.microsoft.com/office/2007/relationships/hdphoto" Target="../media/hdphoto1.wdp"/><Relationship Id="rId3" Type="http://schemas.openxmlformats.org/officeDocument/2006/relationships/image" Target="../media/image68.png"/><Relationship Id="rId7" Type="http://schemas.openxmlformats.org/officeDocument/2006/relationships/image" Target="../media/image70.png"/><Relationship Id="rId12" Type="http://schemas.openxmlformats.org/officeDocument/2006/relationships/image" Target="../media/image72.png"/><Relationship Id="rId17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10.xml"/><Relationship Id="rId6" Type="http://schemas.microsoft.com/office/2007/relationships/hdphoto" Target="../media/hdphoto14.wdp"/><Relationship Id="rId11" Type="http://schemas.openxmlformats.org/officeDocument/2006/relationships/image" Target="../media/image13.png"/><Relationship Id="rId5" Type="http://schemas.openxmlformats.org/officeDocument/2006/relationships/image" Target="../media/image69.png"/><Relationship Id="rId15" Type="http://schemas.microsoft.com/office/2007/relationships/hdphoto" Target="../media/hdphoto18.wdp"/><Relationship Id="rId10" Type="http://schemas.microsoft.com/office/2007/relationships/hdphoto" Target="../media/hdphoto16.wdp"/><Relationship Id="rId4" Type="http://schemas.microsoft.com/office/2007/relationships/hdphoto" Target="../media/hdphoto13.wdp"/><Relationship Id="rId9" Type="http://schemas.openxmlformats.org/officeDocument/2006/relationships/image" Target="../media/image71.png"/><Relationship Id="rId14" Type="http://schemas.openxmlformats.org/officeDocument/2006/relationships/image" Target="../media/image7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07.png"/><Relationship Id="rId4" Type="http://schemas.microsoft.com/office/2007/relationships/hdphoto" Target="../media/hdphoto1.wdp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0.xml"/><Relationship Id="rId5" Type="http://schemas.microsoft.com/office/2007/relationships/hdphoto" Target="../media/hdphoto1.wdp"/><Relationship Id="rId4" Type="http://schemas.openxmlformats.org/officeDocument/2006/relationships/image" Target="../media/image15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10.xml"/><Relationship Id="rId5" Type="http://schemas.microsoft.com/office/2007/relationships/hdphoto" Target="../media/hdphoto1.wdp"/><Relationship Id="rId4" Type="http://schemas.openxmlformats.org/officeDocument/2006/relationships/image" Target="../media/image15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10.xml"/><Relationship Id="rId5" Type="http://schemas.microsoft.com/office/2007/relationships/hdphoto" Target="../media/hdphoto1.wdp"/><Relationship Id="rId4" Type="http://schemas.openxmlformats.org/officeDocument/2006/relationships/image" Target="../media/image15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11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8" Type="http://schemas.microsoft.com/office/2007/relationships/hdphoto" Target="../media/hdphoto15.wdp"/><Relationship Id="rId13" Type="http://schemas.openxmlformats.org/officeDocument/2006/relationships/image" Target="../media/image73.png"/><Relationship Id="rId18" Type="http://schemas.microsoft.com/office/2007/relationships/hdphoto" Target="../media/hdphoto26.wdp"/><Relationship Id="rId26" Type="http://schemas.microsoft.com/office/2007/relationships/hdphoto" Target="../media/hdphoto30.wdp"/><Relationship Id="rId3" Type="http://schemas.openxmlformats.org/officeDocument/2006/relationships/image" Target="../media/image68.png"/><Relationship Id="rId21" Type="http://schemas.openxmlformats.org/officeDocument/2006/relationships/image" Target="../media/image115.png"/><Relationship Id="rId7" Type="http://schemas.openxmlformats.org/officeDocument/2006/relationships/image" Target="../media/image70.png"/><Relationship Id="rId12" Type="http://schemas.microsoft.com/office/2007/relationships/hdphoto" Target="../media/hdphoto17.wdp"/><Relationship Id="rId17" Type="http://schemas.openxmlformats.org/officeDocument/2006/relationships/image" Target="../media/image113.png"/><Relationship Id="rId25" Type="http://schemas.openxmlformats.org/officeDocument/2006/relationships/image" Target="../media/image117.png"/><Relationship Id="rId2" Type="http://schemas.openxmlformats.org/officeDocument/2006/relationships/notesSlide" Target="../notesSlides/notesSlide11.xml"/><Relationship Id="rId16" Type="http://schemas.microsoft.com/office/2007/relationships/hdphoto" Target="../media/hdphoto25.wdp"/><Relationship Id="rId20" Type="http://schemas.microsoft.com/office/2007/relationships/hdphoto" Target="../media/hdphoto27.wdp"/><Relationship Id="rId29" Type="http://schemas.openxmlformats.org/officeDocument/2006/relationships/image" Target="../media/image14.png"/><Relationship Id="rId1" Type="http://schemas.openxmlformats.org/officeDocument/2006/relationships/slideLayout" Target="../slideLayouts/slideLayout10.xml"/><Relationship Id="rId6" Type="http://schemas.microsoft.com/office/2007/relationships/hdphoto" Target="../media/hdphoto14.wdp"/><Relationship Id="rId11" Type="http://schemas.openxmlformats.org/officeDocument/2006/relationships/image" Target="../media/image72.png"/><Relationship Id="rId24" Type="http://schemas.microsoft.com/office/2007/relationships/hdphoto" Target="../media/hdphoto29.wdp"/><Relationship Id="rId5" Type="http://schemas.openxmlformats.org/officeDocument/2006/relationships/image" Target="../media/image69.png"/><Relationship Id="rId15" Type="http://schemas.openxmlformats.org/officeDocument/2006/relationships/image" Target="../media/image112.png"/><Relationship Id="rId23" Type="http://schemas.openxmlformats.org/officeDocument/2006/relationships/image" Target="../media/image116.png"/><Relationship Id="rId28" Type="http://schemas.microsoft.com/office/2007/relationships/hdphoto" Target="../media/hdphoto31.wdp"/><Relationship Id="rId10" Type="http://schemas.microsoft.com/office/2007/relationships/hdphoto" Target="../media/hdphoto16.wdp"/><Relationship Id="rId19" Type="http://schemas.openxmlformats.org/officeDocument/2006/relationships/image" Target="../media/image114.png"/><Relationship Id="rId31" Type="http://schemas.microsoft.com/office/2007/relationships/hdphoto" Target="../media/hdphoto1.wdp"/><Relationship Id="rId4" Type="http://schemas.microsoft.com/office/2007/relationships/hdphoto" Target="../media/hdphoto13.wdp"/><Relationship Id="rId9" Type="http://schemas.openxmlformats.org/officeDocument/2006/relationships/image" Target="../media/image71.png"/><Relationship Id="rId14" Type="http://schemas.microsoft.com/office/2007/relationships/hdphoto" Target="../media/hdphoto18.wdp"/><Relationship Id="rId22" Type="http://schemas.microsoft.com/office/2007/relationships/hdphoto" Target="../media/hdphoto28.wdp"/><Relationship Id="rId27" Type="http://schemas.openxmlformats.org/officeDocument/2006/relationships/image" Target="../media/image118.png"/><Relationship Id="rId30" Type="http://schemas.openxmlformats.org/officeDocument/2006/relationships/image" Target="../media/image15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microsoft.com/office/2007/relationships/hdphoto" Target="../media/hdphoto36.wdp"/><Relationship Id="rId18" Type="http://schemas.microsoft.com/office/2007/relationships/hdphoto" Target="../media/hdphoto1.wdp"/><Relationship Id="rId3" Type="http://schemas.microsoft.com/office/2007/relationships/hdphoto" Target="../media/hdphoto25.wdp"/><Relationship Id="rId7" Type="http://schemas.microsoft.com/office/2007/relationships/hdphoto" Target="../media/hdphoto33.wdp"/><Relationship Id="rId12" Type="http://schemas.openxmlformats.org/officeDocument/2006/relationships/image" Target="../media/image123.png"/><Relationship Id="rId17" Type="http://schemas.openxmlformats.org/officeDocument/2006/relationships/image" Target="../media/image15.png"/><Relationship Id="rId2" Type="http://schemas.openxmlformats.org/officeDocument/2006/relationships/image" Target="../media/image112.png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120.png"/><Relationship Id="rId11" Type="http://schemas.microsoft.com/office/2007/relationships/hdphoto" Target="../media/hdphoto35.wdp"/><Relationship Id="rId5" Type="http://schemas.microsoft.com/office/2007/relationships/hdphoto" Target="../media/hdphoto32.wdp"/><Relationship Id="rId15" Type="http://schemas.microsoft.com/office/2007/relationships/hdphoto" Target="../media/hdphoto37.wdp"/><Relationship Id="rId10" Type="http://schemas.openxmlformats.org/officeDocument/2006/relationships/image" Target="../media/image122.png"/><Relationship Id="rId4" Type="http://schemas.openxmlformats.org/officeDocument/2006/relationships/image" Target="../media/image119.png"/><Relationship Id="rId9" Type="http://schemas.microsoft.com/office/2007/relationships/hdphoto" Target="../media/hdphoto34.wdp"/><Relationship Id="rId14" Type="http://schemas.openxmlformats.org/officeDocument/2006/relationships/image" Target="../media/image124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microsoft.com/office/2007/relationships/hdphoto" Target="../media/hdphoto38.wdp"/><Relationship Id="rId7" Type="http://schemas.openxmlformats.org/officeDocument/2006/relationships/image" Target="../media/image86.png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97.png"/><Relationship Id="rId5" Type="http://schemas.microsoft.com/office/2007/relationships/hdphoto" Target="../media/hdphoto39.wdp"/><Relationship Id="rId10" Type="http://schemas.microsoft.com/office/2007/relationships/hdphoto" Target="../media/hdphoto1.wdp"/><Relationship Id="rId4" Type="http://schemas.openxmlformats.org/officeDocument/2006/relationships/image" Target="../media/image126.png"/><Relationship Id="rId9" Type="http://schemas.openxmlformats.org/officeDocument/2006/relationships/image" Target="../media/image15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3.png"/><Relationship Id="rId13" Type="http://schemas.microsoft.com/office/2007/relationships/hdphoto" Target="../media/hdphoto41.wdp"/><Relationship Id="rId3" Type="http://schemas.openxmlformats.org/officeDocument/2006/relationships/image" Target="../media/image128.png"/><Relationship Id="rId7" Type="http://schemas.openxmlformats.org/officeDocument/2006/relationships/image" Target="../media/image132.png"/><Relationship Id="rId12" Type="http://schemas.openxmlformats.org/officeDocument/2006/relationships/image" Target="../media/image136.png"/><Relationship Id="rId2" Type="http://schemas.openxmlformats.org/officeDocument/2006/relationships/image" Target="../media/image127.png"/><Relationship Id="rId16" Type="http://schemas.microsoft.com/office/2007/relationships/hdphoto" Target="../media/hdphoto1.wdp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31.png"/><Relationship Id="rId11" Type="http://schemas.microsoft.com/office/2007/relationships/hdphoto" Target="../media/hdphoto40.wdp"/><Relationship Id="rId5" Type="http://schemas.openxmlformats.org/officeDocument/2006/relationships/image" Target="../media/image130.png"/><Relationship Id="rId15" Type="http://schemas.openxmlformats.org/officeDocument/2006/relationships/image" Target="../media/image15.png"/><Relationship Id="rId10" Type="http://schemas.openxmlformats.org/officeDocument/2006/relationships/image" Target="../media/image135.png"/><Relationship Id="rId4" Type="http://schemas.openxmlformats.org/officeDocument/2006/relationships/image" Target="../media/image129.png"/><Relationship Id="rId9" Type="http://schemas.openxmlformats.org/officeDocument/2006/relationships/image" Target="../media/image134.png"/><Relationship Id="rId14" Type="http://schemas.openxmlformats.org/officeDocument/2006/relationships/image" Target="../media/image14.png"/></Relationships>
</file>

<file path=ppt/slides/_rels/slide4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microsoft.com/office/2007/relationships/hdphoto" Target="../media/hdphoto42.wdp"/><Relationship Id="rId7" Type="http://schemas.openxmlformats.org/officeDocument/2006/relationships/image" Target="../media/image15.png"/><Relationship Id="rId2" Type="http://schemas.openxmlformats.org/officeDocument/2006/relationships/image" Target="../media/image137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4.png"/><Relationship Id="rId5" Type="http://schemas.microsoft.com/office/2007/relationships/hdphoto" Target="../media/hdphoto43.wdp"/><Relationship Id="rId4" Type="http://schemas.openxmlformats.org/officeDocument/2006/relationships/image" Target="../media/image138.png"/></Relationships>
</file>

<file path=ppt/slides/_rels/slide4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microsoft.com/office/2007/relationships/hdphoto" Target="../media/hdphoto44.wdp"/><Relationship Id="rId7" Type="http://schemas.openxmlformats.org/officeDocument/2006/relationships/image" Target="../media/image15.png"/><Relationship Id="rId2" Type="http://schemas.openxmlformats.org/officeDocument/2006/relationships/image" Target="../media/image139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4.png"/><Relationship Id="rId5" Type="http://schemas.microsoft.com/office/2007/relationships/hdphoto" Target="../media/hdphoto45.wdp"/><Relationship Id="rId4" Type="http://schemas.openxmlformats.org/officeDocument/2006/relationships/image" Target="../media/image140.png"/></Relationships>
</file>

<file path=ppt/slides/_rels/slide47.xml.rels><?xml version="1.0" encoding="UTF-8" standalone="yes"?>
<Relationships xmlns="http://schemas.openxmlformats.org/package/2006/relationships"><Relationship Id="rId8" Type="http://schemas.microsoft.com/office/2007/relationships/hdphoto" Target="../media/hdphoto48.wdp"/><Relationship Id="rId13" Type="http://schemas.openxmlformats.org/officeDocument/2006/relationships/image" Target="../media/image149.png"/><Relationship Id="rId18" Type="http://schemas.microsoft.com/office/2007/relationships/hdphoto" Target="../media/hdphoto50.wdp"/><Relationship Id="rId3" Type="http://schemas.microsoft.com/office/2007/relationships/hdphoto" Target="../media/hdphoto46.wdp"/><Relationship Id="rId21" Type="http://schemas.microsoft.com/office/2007/relationships/hdphoto" Target="../media/hdphoto1.wdp"/><Relationship Id="rId7" Type="http://schemas.openxmlformats.org/officeDocument/2006/relationships/image" Target="../media/image144.png"/><Relationship Id="rId12" Type="http://schemas.openxmlformats.org/officeDocument/2006/relationships/image" Target="../media/image148.png"/><Relationship Id="rId17" Type="http://schemas.openxmlformats.org/officeDocument/2006/relationships/image" Target="../media/image152.png"/><Relationship Id="rId2" Type="http://schemas.openxmlformats.org/officeDocument/2006/relationships/image" Target="../media/image141.png"/><Relationship Id="rId16" Type="http://schemas.microsoft.com/office/2007/relationships/hdphoto" Target="../media/hdphoto49.wdp"/><Relationship Id="rId20" Type="http://schemas.openxmlformats.org/officeDocument/2006/relationships/image" Target="../media/image15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43.png"/><Relationship Id="rId11" Type="http://schemas.openxmlformats.org/officeDocument/2006/relationships/image" Target="../media/image147.png"/><Relationship Id="rId5" Type="http://schemas.microsoft.com/office/2007/relationships/hdphoto" Target="../media/hdphoto47.wdp"/><Relationship Id="rId15" Type="http://schemas.openxmlformats.org/officeDocument/2006/relationships/image" Target="../media/image151.png"/><Relationship Id="rId10" Type="http://schemas.openxmlformats.org/officeDocument/2006/relationships/image" Target="../media/image146.jpeg"/><Relationship Id="rId19" Type="http://schemas.openxmlformats.org/officeDocument/2006/relationships/image" Target="../media/image14.png"/><Relationship Id="rId4" Type="http://schemas.openxmlformats.org/officeDocument/2006/relationships/image" Target="../media/image142.png"/><Relationship Id="rId9" Type="http://schemas.openxmlformats.org/officeDocument/2006/relationships/image" Target="../media/image145.png"/><Relationship Id="rId14" Type="http://schemas.openxmlformats.org/officeDocument/2006/relationships/image" Target="../media/image150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153.png"/><Relationship Id="rId4" Type="http://schemas.microsoft.com/office/2007/relationships/hdphoto" Target="../media/hdphoto1.wdp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14.png"/><Relationship Id="rId7" Type="http://schemas.openxmlformats.org/officeDocument/2006/relationships/image" Target="../media/image20.jpeg"/><Relationship Id="rId12" Type="http://schemas.openxmlformats.org/officeDocument/2006/relationships/hyperlink" Target="mailto:Rutger.van.IJzendoorn@conclusion.nl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9.jpeg"/><Relationship Id="rId11" Type="http://schemas.openxmlformats.org/officeDocument/2006/relationships/hyperlink" Target="mailto:elodder@keycontroldashboard.nl" TargetMode="External"/><Relationship Id="rId5" Type="http://schemas.microsoft.com/office/2007/relationships/hdphoto" Target="../media/hdphoto1.wdp"/><Relationship Id="rId10" Type="http://schemas.openxmlformats.org/officeDocument/2006/relationships/image" Target="../media/image154.png"/><Relationship Id="rId4" Type="http://schemas.openxmlformats.org/officeDocument/2006/relationships/image" Target="../media/image15.png"/><Relationship Id="rId9" Type="http://schemas.openxmlformats.org/officeDocument/2006/relationships/hyperlink" Target="mailto:ek@hotitem.nl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14.png"/><Relationship Id="rId7" Type="http://schemas.openxmlformats.org/officeDocument/2006/relationships/image" Target="../media/image2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9.jpeg"/><Relationship Id="rId5" Type="http://schemas.microsoft.com/office/2007/relationships/hdphoto" Target="../media/hdphoto1.wdp"/><Relationship Id="rId4" Type="http://schemas.openxmlformats.org/officeDocument/2006/relationships/image" Target="../media/image15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26" Type="http://schemas.openxmlformats.org/officeDocument/2006/relationships/image" Target="../media/image42.jpeg"/><Relationship Id="rId3" Type="http://schemas.openxmlformats.org/officeDocument/2006/relationships/image" Target="../media/image14.png"/><Relationship Id="rId21" Type="http://schemas.openxmlformats.org/officeDocument/2006/relationships/image" Target="../media/image37.jpeg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17" Type="http://schemas.openxmlformats.org/officeDocument/2006/relationships/image" Target="../media/image33.png"/><Relationship Id="rId25" Type="http://schemas.openxmlformats.org/officeDocument/2006/relationships/image" Target="../media/image41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2.jpeg"/><Relationship Id="rId20" Type="http://schemas.openxmlformats.org/officeDocument/2006/relationships/image" Target="../media/image36.jpe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2.png"/><Relationship Id="rId11" Type="http://schemas.openxmlformats.org/officeDocument/2006/relationships/image" Target="../media/image27.jpeg"/><Relationship Id="rId24" Type="http://schemas.openxmlformats.org/officeDocument/2006/relationships/image" Target="../media/image40.png"/><Relationship Id="rId5" Type="http://schemas.microsoft.com/office/2007/relationships/hdphoto" Target="../media/hdphoto1.wdp"/><Relationship Id="rId15" Type="http://schemas.openxmlformats.org/officeDocument/2006/relationships/image" Target="../media/image31.png"/><Relationship Id="rId23" Type="http://schemas.openxmlformats.org/officeDocument/2006/relationships/image" Target="../media/image39.png"/><Relationship Id="rId28" Type="http://schemas.openxmlformats.org/officeDocument/2006/relationships/image" Target="../media/image44.png"/><Relationship Id="rId10" Type="http://schemas.openxmlformats.org/officeDocument/2006/relationships/image" Target="../media/image26.png"/><Relationship Id="rId19" Type="http://schemas.openxmlformats.org/officeDocument/2006/relationships/image" Target="../media/image35.png"/><Relationship Id="rId4" Type="http://schemas.openxmlformats.org/officeDocument/2006/relationships/image" Target="../media/image15.png"/><Relationship Id="rId9" Type="http://schemas.openxmlformats.org/officeDocument/2006/relationships/image" Target="../media/image25.png"/><Relationship Id="rId14" Type="http://schemas.openxmlformats.org/officeDocument/2006/relationships/image" Target="../media/image30.png"/><Relationship Id="rId22" Type="http://schemas.openxmlformats.org/officeDocument/2006/relationships/image" Target="../media/image38.jpeg"/><Relationship Id="rId27" Type="http://schemas.openxmlformats.org/officeDocument/2006/relationships/image" Target="../media/image4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microsoft.com/office/2007/relationships/hdphoto" Target="../media/hdphoto2.wdp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5.png"/><Relationship Id="rId5" Type="http://schemas.microsoft.com/office/2007/relationships/hdphoto" Target="../media/hdphoto1.wdp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hyperlink" Target="https://www.are.admin.ch/dam/are/en/dokumente/nachhaltige_entwicklung/dokumente/bericht/our_common_futurebrundtlandreport1987.pdf.download.pdf/our_common_futurebrundtlandreport1987.pdf" TargetMode="External"/><Relationship Id="rId1" Type="http://schemas.openxmlformats.org/officeDocument/2006/relationships/slideLayout" Target="../slideLayouts/slideLayout23.xml"/><Relationship Id="rId5" Type="http://schemas.microsoft.com/office/2007/relationships/hdphoto" Target="../media/hdphoto1.wdp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microsoft.com/office/2007/relationships/hdphoto" Target="../media/hdphoto6.wdp"/><Relationship Id="rId3" Type="http://schemas.microsoft.com/office/2007/relationships/hdphoto" Target="../media/hdphoto3.wdp"/><Relationship Id="rId7" Type="http://schemas.microsoft.com/office/2007/relationships/hdphoto" Target="../media/hdphoto4.wdp"/><Relationship Id="rId12" Type="http://schemas.openxmlformats.org/officeDocument/2006/relationships/image" Target="../media/image53.png"/><Relationship Id="rId2" Type="http://schemas.openxmlformats.org/officeDocument/2006/relationships/image" Target="../media/image46.png"/><Relationship Id="rId16" Type="http://schemas.microsoft.com/office/2007/relationships/hdphoto" Target="../media/hdphoto1.wdp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49.png"/><Relationship Id="rId11" Type="http://schemas.openxmlformats.org/officeDocument/2006/relationships/image" Target="../media/image52.png"/><Relationship Id="rId5" Type="http://schemas.openxmlformats.org/officeDocument/2006/relationships/image" Target="../media/image48.jpeg"/><Relationship Id="rId15" Type="http://schemas.openxmlformats.org/officeDocument/2006/relationships/image" Target="../media/image15.png"/><Relationship Id="rId10" Type="http://schemas.microsoft.com/office/2007/relationships/hdphoto" Target="../media/hdphoto5.wdp"/><Relationship Id="rId4" Type="http://schemas.openxmlformats.org/officeDocument/2006/relationships/image" Target="../media/image47.png"/><Relationship Id="rId9" Type="http://schemas.openxmlformats.org/officeDocument/2006/relationships/image" Target="../media/image51.png"/><Relationship Id="rId1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1" name="Tekstvak 1060">
            <a:extLst>
              <a:ext uri="{FF2B5EF4-FFF2-40B4-BE49-F238E27FC236}">
                <a16:creationId xmlns:a16="http://schemas.microsoft.com/office/drawing/2014/main" id="{CD6374CD-E757-256D-76A6-8D20D7E6514E}"/>
              </a:ext>
            </a:extLst>
          </p:cNvPr>
          <p:cNvSpPr txBox="1"/>
          <p:nvPr/>
        </p:nvSpPr>
        <p:spPr>
          <a:xfrm>
            <a:off x="2881313" y="3038862"/>
            <a:ext cx="58007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kern="0" noProof="1">
                <a:solidFill>
                  <a:srgbClr val="00BCE2"/>
                </a:solidFill>
                <a:latin typeface="Montserrat" panose="00000500000000000000" pitchFamily="2" charset="0"/>
              </a:rPr>
              <a:t> </a:t>
            </a:r>
            <a:endParaRPr lang="en-GB"/>
          </a:p>
        </p:txBody>
      </p:sp>
      <p:pic>
        <p:nvPicPr>
          <p:cNvPr id="10" name="Picture 2" descr="Our Corporate Social Responsibility - Punch Powertrain">
            <a:extLst>
              <a:ext uri="{FF2B5EF4-FFF2-40B4-BE49-F238E27FC236}">
                <a16:creationId xmlns:a16="http://schemas.microsoft.com/office/drawing/2014/main" id="{145F96F9-1D7E-7DDC-9C28-B5176E226E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0972" y="469172"/>
            <a:ext cx="5605878" cy="4857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hoek 6">
            <a:extLst>
              <a:ext uri="{FF2B5EF4-FFF2-40B4-BE49-F238E27FC236}">
                <a16:creationId xmlns:a16="http://schemas.microsoft.com/office/drawing/2014/main" id="{533073BA-6013-1AF3-7218-93A97C22B9DF}"/>
              </a:ext>
            </a:extLst>
          </p:cNvPr>
          <p:cNvSpPr/>
          <p:nvPr/>
        </p:nvSpPr>
        <p:spPr>
          <a:xfrm>
            <a:off x="231" y="630"/>
            <a:ext cx="5129265" cy="5811579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3"/>
              </a:buClr>
            </a:pPr>
            <a:endParaRPr lang="en-GB" sz="900" err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TextBox 80">
            <a:extLst>
              <a:ext uri="{FF2B5EF4-FFF2-40B4-BE49-F238E27FC236}">
                <a16:creationId xmlns:a16="http://schemas.microsoft.com/office/drawing/2014/main" id="{E4B56F38-D319-1E33-83EB-0F04349BE264}"/>
              </a:ext>
            </a:extLst>
          </p:cNvPr>
          <p:cNvSpPr txBox="1"/>
          <p:nvPr/>
        </p:nvSpPr>
        <p:spPr>
          <a:xfrm>
            <a:off x="350369" y="1838534"/>
            <a:ext cx="4243529" cy="1569660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 marR="0" lvl="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NCDD: Webinar (13 juni)</a:t>
            </a:r>
            <a:br>
              <a:rPr lang="en-US" sz="1800" b="1" kern="0" noProof="1">
                <a:solidFill>
                  <a:srgbClr val="F3FBF7"/>
                </a:solidFill>
                <a:latin typeface="Montserrat" panose="00000500000000000000" pitchFamily="2" charset="0"/>
              </a:rPr>
            </a:br>
            <a:r>
              <a:rPr lang="en-US" sz="40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CSRD Beyond Compliance</a:t>
            </a:r>
            <a:endParaRPr lang="nl-NL" sz="1800" kern="0" noProof="1">
              <a:solidFill>
                <a:srgbClr val="F3FBF7"/>
              </a:solidFill>
              <a:latin typeface="Montserrat" panose="00000500000000000000" pitchFamily="2" charset="0"/>
            </a:endParaRPr>
          </a:p>
        </p:txBody>
      </p:sp>
      <p:sp>
        <p:nvSpPr>
          <p:cNvPr id="17" name="Tijdelijke aanduiding voor dianummer 1">
            <a:extLst>
              <a:ext uri="{FF2B5EF4-FFF2-40B4-BE49-F238E27FC236}">
                <a16:creationId xmlns:a16="http://schemas.microsoft.com/office/drawing/2014/main" id="{79FEEAF1-A6CC-4DE3-12AE-C95C499666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688" y="6119725"/>
            <a:ext cx="431800" cy="360362"/>
          </a:xfrm>
        </p:spPr>
        <p:txBody>
          <a:bodyPr/>
          <a:lstStyle/>
          <a:p>
            <a:pPr marL="0" marR="0" lvl="0" indent="0" algn="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82D01A-ED25-4F30-894A-E32B487BCBA5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F4F6F8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pPr marL="0" marR="0" lvl="0" indent="0" algn="r" defTabSz="86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F4F6F8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6A1DF57D-AA48-B3EB-E010-588F4E36CF25}"/>
              </a:ext>
            </a:extLst>
          </p:cNvPr>
          <p:cNvSpPr/>
          <p:nvPr/>
        </p:nvSpPr>
        <p:spPr>
          <a:xfrm>
            <a:off x="244" y="5804413"/>
            <a:ext cx="11520488" cy="67558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err="1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12E53F8-B67B-C36B-26E4-FF1B59286FF1}"/>
              </a:ext>
            </a:extLst>
          </p:cNvPr>
          <p:cNvSpPr txBox="1">
            <a:spLocks/>
          </p:cNvSpPr>
          <p:nvPr/>
        </p:nvSpPr>
        <p:spPr>
          <a:xfrm>
            <a:off x="125479" y="5917710"/>
            <a:ext cx="10296239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BeYOND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6B072A03-A409-06E7-AFCC-DFB2CC886FB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4" name="Picture 2" descr="Nationale Coalitie Duurzame Digitalisering">
            <a:extLst>
              <a:ext uri="{FF2B5EF4-FFF2-40B4-BE49-F238E27FC236}">
                <a16:creationId xmlns:a16="http://schemas.microsoft.com/office/drawing/2014/main" id="{56A81021-DE08-8841-A172-A5F12CD3F6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6334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CFADEDBE-FB19-44D6-B279-5F1A80733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526" y="6119637"/>
            <a:ext cx="431787" cy="360352"/>
          </a:xfrm>
        </p:spPr>
        <p:txBody>
          <a:bodyPr/>
          <a:lstStyle/>
          <a:p>
            <a:pPr defTabSz="864006">
              <a:defRPr/>
            </a:pPr>
            <a:fld id="{2882D01A-ED25-4F30-894A-E32B487BCBA5}" type="slidenum">
              <a:rPr lang="nl-NL">
                <a:solidFill>
                  <a:srgbClr val="F4F6F8">
                    <a:lumMod val="75000"/>
                  </a:srgbClr>
                </a:solidFill>
              </a:rPr>
              <a:pPr defTabSz="864006">
                <a:defRPr/>
              </a:pPr>
              <a:t>10</a:t>
            </a:fld>
            <a:endParaRPr lang="nl-NL">
              <a:solidFill>
                <a:srgbClr val="F4F6F8">
                  <a:lumMod val="75000"/>
                </a:srgbClr>
              </a:solidFill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533073BA-6013-1AF3-7218-93A97C22B9DF}"/>
              </a:ext>
            </a:extLst>
          </p:cNvPr>
          <p:cNvSpPr/>
          <p:nvPr/>
        </p:nvSpPr>
        <p:spPr>
          <a:xfrm>
            <a:off x="-16842" y="-7979"/>
            <a:ext cx="11537156" cy="1141785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8" tIns="35998" rIns="35998" bIns="359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06">
              <a:buClr>
                <a:srgbClr val="4AC300"/>
              </a:buClr>
              <a:defRPr/>
            </a:pPr>
            <a:endParaRPr lang="en-GB" sz="90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TextBox 80">
            <a:extLst>
              <a:ext uri="{FF2B5EF4-FFF2-40B4-BE49-F238E27FC236}">
                <a16:creationId xmlns:a16="http://schemas.microsoft.com/office/drawing/2014/main" id="{E4B56F38-D319-1E33-83EB-0F04349BE264}"/>
              </a:ext>
            </a:extLst>
          </p:cNvPr>
          <p:cNvSpPr txBox="1"/>
          <p:nvPr/>
        </p:nvSpPr>
        <p:spPr>
          <a:xfrm>
            <a:off x="250991" y="183538"/>
            <a:ext cx="9073349" cy="803938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 defTabSz="914332">
              <a:defRPr/>
            </a:pPr>
            <a:r>
              <a:rPr lang="en-US" sz="16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Introductie Duurzaamheid</a:t>
            </a:r>
            <a:br>
              <a:rPr lang="en-US" sz="1800" b="1" kern="0" noProof="1">
                <a:solidFill>
                  <a:srgbClr val="F3FBF7"/>
                </a:solidFill>
                <a:latin typeface="Montserrat" panose="00000500000000000000" pitchFamily="2" charset="0"/>
              </a:rPr>
            </a:br>
            <a:r>
              <a:rPr lang="en-US" sz="3024" kern="0" noProof="1">
                <a:solidFill>
                  <a:srgbClr val="F3FBF7"/>
                </a:solidFill>
                <a:latin typeface="Montserrat" panose="00000500000000000000" pitchFamily="2" charset="0"/>
              </a:rPr>
              <a:t>DUURZAAMHEID</a:t>
            </a:r>
            <a:r>
              <a:rPr lang="en-US" sz="3024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 PARIJS-AKKOORD</a:t>
            </a:r>
            <a:endParaRPr lang="nl-NL" sz="5400" b="1" kern="0" noProof="1">
              <a:solidFill>
                <a:srgbClr val="F3FBF7"/>
              </a:solidFill>
              <a:latin typeface="Montserrat" panose="00000500000000000000" pitchFamily="2" charset="0"/>
            </a:endParaRP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61487E1E-F751-4A85-2826-C0B6250EA156}"/>
              </a:ext>
            </a:extLst>
          </p:cNvPr>
          <p:cNvSpPr/>
          <p:nvPr/>
        </p:nvSpPr>
        <p:spPr>
          <a:xfrm>
            <a:off x="333" y="5804374"/>
            <a:ext cx="11520312" cy="67557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9" tIns="35999" rIns="35999" bIns="359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3949">
              <a:buClr>
                <a:srgbClr val="4AC300"/>
              </a:buClr>
            </a:pPr>
            <a:endParaRPr lang="en-GB" sz="90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E5E5C827-83D9-1A5F-78EB-FD654C0082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7810" y="1281056"/>
            <a:ext cx="8462939" cy="4422077"/>
          </a:xfrm>
          <a:prstGeom prst="rect">
            <a:avLst/>
          </a:prstGeom>
        </p:spPr>
      </p:pic>
      <p:pic>
        <p:nvPicPr>
          <p:cNvPr id="10" name="Picture 6" descr="2015 United Nations Climate Change Conference - Wikipedia">
            <a:extLst>
              <a:ext uri="{FF2B5EF4-FFF2-40B4-BE49-F238E27FC236}">
                <a16:creationId xmlns:a16="http://schemas.microsoft.com/office/drawing/2014/main" id="{86781585-7E60-7BAA-80CC-245B60AA17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43"/>
          <a:stretch/>
        </p:blipFill>
        <p:spPr bwMode="auto">
          <a:xfrm>
            <a:off x="524548" y="1640145"/>
            <a:ext cx="2046563" cy="3381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Rechte verbindingslijn 16">
            <a:extLst>
              <a:ext uri="{FF2B5EF4-FFF2-40B4-BE49-F238E27FC236}">
                <a16:creationId xmlns:a16="http://schemas.microsoft.com/office/drawing/2014/main" id="{E091EE88-67A5-C6A4-7D79-487E589839D0}"/>
              </a:ext>
            </a:extLst>
          </p:cNvPr>
          <p:cNvCxnSpPr>
            <a:cxnSpLocks/>
          </p:cNvCxnSpPr>
          <p:nvPr/>
        </p:nvCxnSpPr>
        <p:spPr>
          <a:xfrm flipH="1" flipV="1">
            <a:off x="1638133" y="2812073"/>
            <a:ext cx="8756514" cy="5003"/>
          </a:xfrm>
          <a:prstGeom prst="line">
            <a:avLst/>
          </a:prstGeom>
          <a:ln w="38100" cap="rnd">
            <a:solidFill>
              <a:srgbClr val="F9A70D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al 19">
            <a:extLst>
              <a:ext uri="{FF2B5EF4-FFF2-40B4-BE49-F238E27FC236}">
                <a16:creationId xmlns:a16="http://schemas.microsoft.com/office/drawing/2014/main" id="{98266B2E-CCA8-0BEB-69EA-8D19DB865B90}"/>
              </a:ext>
            </a:extLst>
          </p:cNvPr>
          <p:cNvSpPr/>
          <p:nvPr/>
        </p:nvSpPr>
        <p:spPr>
          <a:xfrm>
            <a:off x="1565829" y="2716670"/>
            <a:ext cx="172805" cy="172805"/>
          </a:xfrm>
          <a:prstGeom prst="ellipse">
            <a:avLst/>
          </a:prstGeom>
          <a:solidFill>
            <a:srgbClr val="F9A70D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</a:pPr>
            <a:endParaRPr lang="en-GB" sz="85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A8100AC3-5BC1-F97E-0A70-72E789A8B54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11" name="Picture 2" descr="Nationale Coalitie Duurzame Digitalisering">
            <a:extLst>
              <a:ext uri="{FF2B5EF4-FFF2-40B4-BE49-F238E27FC236}">
                <a16:creationId xmlns:a16="http://schemas.microsoft.com/office/drawing/2014/main" id="{1FA4C632-DDCA-CC61-EC5E-FD1A3D1ECD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D70F38B-6915-055A-3A49-C7BAB9269F22}"/>
              </a:ext>
            </a:extLst>
          </p:cNvPr>
          <p:cNvSpPr txBox="1">
            <a:spLocks/>
          </p:cNvSpPr>
          <p:nvPr/>
        </p:nvSpPr>
        <p:spPr>
          <a:xfrm>
            <a:off x="125480" y="5917710"/>
            <a:ext cx="7409986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</a:t>
            </a:r>
            <a:r>
              <a:rPr kumimoji="0" lang="nl-NL" sz="2400" b="1" i="0" u="none" strike="noStrike" kern="1200" cap="all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BeYOND</a:t>
            </a: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6363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3FB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CFADEDBE-FB19-44D6-B279-5F1A80733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526" y="6119637"/>
            <a:ext cx="431787" cy="360352"/>
          </a:xfrm>
        </p:spPr>
        <p:txBody>
          <a:bodyPr/>
          <a:lstStyle/>
          <a:p>
            <a:pPr defTabSz="864006">
              <a:defRPr/>
            </a:pPr>
            <a:fld id="{2882D01A-ED25-4F30-894A-E32B487BCBA5}" type="slidenum">
              <a:rPr lang="nl-NL">
                <a:solidFill>
                  <a:srgbClr val="F4F6F8">
                    <a:lumMod val="75000"/>
                  </a:srgbClr>
                </a:solidFill>
              </a:rPr>
              <a:pPr defTabSz="864006">
                <a:defRPr/>
              </a:pPr>
              <a:t>11</a:t>
            </a:fld>
            <a:endParaRPr lang="nl-NL">
              <a:solidFill>
                <a:srgbClr val="F4F6F8">
                  <a:lumMod val="75000"/>
                </a:srgbClr>
              </a:solidFill>
            </a:endParaRPr>
          </a:p>
        </p:txBody>
      </p:sp>
      <p:sp>
        <p:nvSpPr>
          <p:cNvPr id="1061" name="Tekstvak 1060">
            <a:extLst>
              <a:ext uri="{FF2B5EF4-FFF2-40B4-BE49-F238E27FC236}">
                <a16:creationId xmlns:a16="http://schemas.microsoft.com/office/drawing/2014/main" id="{CD6374CD-E757-256D-76A6-8D20D7E6514E}"/>
              </a:ext>
            </a:extLst>
          </p:cNvPr>
          <p:cNvSpPr txBox="1"/>
          <p:nvPr/>
        </p:nvSpPr>
        <p:spPr>
          <a:xfrm>
            <a:off x="2881401" y="3038868"/>
            <a:ext cx="58005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64006">
              <a:defRPr/>
            </a:pPr>
            <a:r>
              <a:rPr lang="en-US" sz="1800" b="1" kern="0" noProof="1">
                <a:solidFill>
                  <a:srgbClr val="00BCE2"/>
                </a:solidFill>
                <a:latin typeface="Montserrat" panose="00000500000000000000" pitchFamily="2" charset="0"/>
              </a:rPr>
              <a:t> </a:t>
            </a:r>
            <a:endParaRPr lang="en-GB" sz="1800">
              <a:solidFill>
                <a:srgbClr val="555C6B"/>
              </a:solidFill>
              <a:latin typeface="Calibri"/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533073BA-6013-1AF3-7218-93A97C22B9DF}"/>
              </a:ext>
            </a:extLst>
          </p:cNvPr>
          <p:cNvSpPr/>
          <p:nvPr/>
        </p:nvSpPr>
        <p:spPr>
          <a:xfrm>
            <a:off x="-16842" y="-7979"/>
            <a:ext cx="11537156" cy="1141785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8" tIns="35998" rIns="35998" bIns="359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06">
              <a:buClr>
                <a:srgbClr val="4AC300"/>
              </a:buClr>
              <a:defRPr/>
            </a:pPr>
            <a:endParaRPr lang="en-GB" sz="90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TextBox 80">
            <a:extLst>
              <a:ext uri="{FF2B5EF4-FFF2-40B4-BE49-F238E27FC236}">
                <a16:creationId xmlns:a16="http://schemas.microsoft.com/office/drawing/2014/main" id="{E4B56F38-D319-1E33-83EB-0F04349BE264}"/>
              </a:ext>
            </a:extLst>
          </p:cNvPr>
          <p:cNvSpPr txBox="1"/>
          <p:nvPr/>
        </p:nvSpPr>
        <p:spPr>
          <a:xfrm>
            <a:off x="250992" y="183538"/>
            <a:ext cx="7487158" cy="803938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 defTabSz="914332">
              <a:defRPr/>
            </a:pPr>
            <a:r>
              <a:rPr lang="en-US" sz="16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Introductie Duurzaamheid</a:t>
            </a:r>
            <a:br>
              <a:rPr lang="en-US" sz="1800" b="1" kern="0" noProof="1">
                <a:solidFill>
                  <a:srgbClr val="F3FBF7"/>
                </a:solidFill>
                <a:latin typeface="Montserrat" panose="00000500000000000000" pitchFamily="2" charset="0"/>
              </a:rPr>
            </a:br>
            <a:r>
              <a:rPr lang="en-US" sz="3024" kern="0" noProof="1">
                <a:solidFill>
                  <a:srgbClr val="F3FBF7"/>
                </a:solidFill>
                <a:latin typeface="Montserrat" panose="00000500000000000000" pitchFamily="2" charset="0"/>
              </a:rPr>
              <a:t>DUURZAAMHEID</a:t>
            </a:r>
            <a:r>
              <a:rPr lang="en-US" sz="3024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 UN SDG’S</a:t>
            </a:r>
            <a:endParaRPr lang="nl-NL" sz="5400" b="1" kern="0" noProof="1">
              <a:solidFill>
                <a:srgbClr val="F3FBF7"/>
              </a:solidFill>
              <a:latin typeface="Montserrat" panose="00000500000000000000" pitchFamily="2" charset="0"/>
            </a:endParaRPr>
          </a:p>
        </p:txBody>
      </p:sp>
      <p:grpSp>
        <p:nvGrpSpPr>
          <p:cNvPr id="16" name="Groep 15">
            <a:extLst>
              <a:ext uri="{FF2B5EF4-FFF2-40B4-BE49-F238E27FC236}">
                <a16:creationId xmlns:a16="http://schemas.microsoft.com/office/drawing/2014/main" id="{8B66F65F-6C73-93E2-10D5-2CC2F3B2BDB3}"/>
              </a:ext>
            </a:extLst>
          </p:cNvPr>
          <p:cNvGrpSpPr/>
          <p:nvPr/>
        </p:nvGrpSpPr>
        <p:grpSpPr>
          <a:xfrm>
            <a:off x="269969" y="1516682"/>
            <a:ext cx="10980550" cy="3950226"/>
            <a:chOff x="284542" y="1799637"/>
            <a:chExt cx="11620946" cy="4180608"/>
          </a:xfrm>
        </p:grpSpPr>
        <p:pic>
          <p:nvPicPr>
            <p:cNvPr id="12" name="Afbeelding 11">
              <a:extLst>
                <a:ext uri="{FF2B5EF4-FFF2-40B4-BE49-F238E27FC236}">
                  <a16:creationId xmlns:a16="http://schemas.microsoft.com/office/drawing/2014/main" id="{E2024AFA-C713-BBF9-724B-62CF4E3E6D4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465576" y="1802392"/>
              <a:ext cx="8439912" cy="417785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4" name="Afbeelding 13">
              <a:extLst>
                <a:ext uri="{FF2B5EF4-FFF2-40B4-BE49-F238E27FC236}">
                  <a16:creationId xmlns:a16="http://schemas.microsoft.com/office/drawing/2014/main" id="{1B3847DC-4CD4-CDDF-3764-2074028D0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84542" y="1799637"/>
              <a:ext cx="2906714" cy="417509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5" name="Picture 4" descr="Play Button Outline Green icon PNG and SVG Vector Free Download">
              <a:hlinkClick r:id="rId4"/>
              <a:extLst>
                <a:ext uri="{FF2B5EF4-FFF2-40B4-BE49-F238E27FC236}">
                  <a16:creationId xmlns:a16="http://schemas.microsoft.com/office/drawing/2014/main" id="{E6570D9F-2CDD-857D-FBF7-1EADF4C43C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26773" y="1902986"/>
              <a:ext cx="467762" cy="4677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" name="Rechthoek 2">
            <a:extLst>
              <a:ext uri="{FF2B5EF4-FFF2-40B4-BE49-F238E27FC236}">
                <a16:creationId xmlns:a16="http://schemas.microsoft.com/office/drawing/2014/main" id="{61487E1E-F751-4A85-2826-C0B6250EA156}"/>
              </a:ext>
            </a:extLst>
          </p:cNvPr>
          <p:cNvSpPr/>
          <p:nvPr/>
        </p:nvSpPr>
        <p:spPr>
          <a:xfrm>
            <a:off x="333" y="5804374"/>
            <a:ext cx="11520312" cy="67557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9" tIns="35999" rIns="35999" bIns="359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3949">
              <a:buClr>
                <a:srgbClr val="4AC300"/>
              </a:buClr>
            </a:pPr>
            <a:endParaRPr lang="en-GB" sz="90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1D186646-B250-7F99-9D8C-426D6CDBD63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9" name="Picture 2" descr="Nationale Coalitie Duurzame Digitalisering">
            <a:extLst>
              <a:ext uri="{FF2B5EF4-FFF2-40B4-BE49-F238E27FC236}">
                <a16:creationId xmlns:a16="http://schemas.microsoft.com/office/drawing/2014/main" id="{B20ACC79-80CC-730C-18FF-70DB162F85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B672A5AC-F6BE-5DF4-F158-0176F58B408C}"/>
              </a:ext>
            </a:extLst>
          </p:cNvPr>
          <p:cNvSpPr txBox="1">
            <a:spLocks/>
          </p:cNvSpPr>
          <p:nvPr/>
        </p:nvSpPr>
        <p:spPr>
          <a:xfrm>
            <a:off x="125480" y="5926336"/>
            <a:ext cx="7409986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</a:t>
            </a:r>
            <a:r>
              <a:rPr kumimoji="0" lang="nl-NL" sz="2400" b="1" i="0" u="none" strike="noStrike" kern="1200" cap="all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BeYOND</a:t>
            </a: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1143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33073BA-6013-1AF3-7218-93A97C22B9DF}"/>
              </a:ext>
            </a:extLst>
          </p:cNvPr>
          <p:cNvSpPr/>
          <p:nvPr/>
        </p:nvSpPr>
        <p:spPr>
          <a:xfrm>
            <a:off x="-156" y="-1176"/>
            <a:ext cx="11520312" cy="5817270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8" tIns="35998" rIns="35998" bIns="359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06">
              <a:buClr>
                <a:srgbClr val="4AC300"/>
              </a:buClr>
              <a:defRPr/>
            </a:pPr>
            <a:endParaRPr lang="en-GB" sz="900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CFADEDBE-FB19-44D6-B279-5F1A80733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526" y="6119637"/>
            <a:ext cx="431787" cy="360352"/>
          </a:xfrm>
        </p:spPr>
        <p:txBody>
          <a:bodyPr/>
          <a:lstStyle/>
          <a:p>
            <a:pPr defTabSz="864006">
              <a:defRPr/>
            </a:pPr>
            <a:fld id="{2882D01A-ED25-4F30-894A-E32B487BCBA5}" type="slidenum">
              <a:rPr lang="nl-NL">
                <a:solidFill>
                  <a:srgbClr val="F4F6F8">
                    <a:lumMod val="75000"/>
                  </a:srgbClr>
                </a:solidFill>
              </a:rPr>
              <a:pPr defTabSz="864006">
                <a:defRPr/>
              </a:pPr>
              <a:t>12</a:t>
            </a:fld>
            <a:endParaRPr lang="nl-NL">
              <a:solidFill>
                <a:srgbClr val="F4F6F8">
                  <a:lumMod val="75000"/>
                </a:srgbClr>
              </a:solidFill>
            </a:endParaRP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61487E1E-F751-4A85-2826-C0B6250EA156}"/>
              </a:ext>
            </a:extLst>
          </p:cNvPr>
          <p:cNvSpPr/>
          <p:nvPr/>
        </p:nvSpPr>
        <p:spPr>
          <a:xfrm>
            <a:off x="333" y="5817270"/>
            <a:ext cx="11520312" cy="67557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9" tIns="35999" rIns="35999" bIns="359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3949">
              <a:buClr>
                <a:srgbClr val="4AC300"/>
              </a:buClr>
              <a:defRPr/>
            </a:pPr>
            <a:endParaRPr lang="en-GB" sz="90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TextBox 80">
            <a:extLst>
              <a:ext uri="{FF2B5EF4-FFF2-40B4-BE49-F238E27FC236}">
                <a16:creationId xmlns:a16="http://schemas.microsoft.com/office/drawing/2014/main" id="{E4B56F38-D319-1E33-83EB-0F04349BE264}"/>
              </a:ext>
            </a:extLst>
          </p:cNvPr>
          <p:cNvSpPr txBox="1"/>
          <p:nvPr/>
        </p:nvSpPr>
        <p:spPr>
          <a:xfrm>
            <a:off x="250992" y="241760"/>
            <a:ext cx="10593376" cy="745717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 defTabSz="914332">
              <a:defRPr/>
            </a:pPr>
            <a:r>
              <a:rPr lang="en-US" sz="16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Introductie Duurzaamheid</a:t>
            </a:r>
            <a:br>
              <a:rPr lang="en-US" sz="1800" b="1" kern="0" noProof="1">
                <a:solidFill>
                  <a:srgbClr val="F3FBF7"/>
                </a:solidFill>
                <a:latin typeface="Montserrat" panose="00000500000000000000" pitchFamily="2" charset="0"/>
              </a:rPr>
            </a:br>
            <a:r>
              <a:rPr lang="en-US" sz="2646" kern="0" noProof="1">
                <a:solidFill>
                  <a:srgbClr val="F3FBF7"/>
                </a:solidFill>
                <a:latin typeface="Montserrat" panose="00000500000000000000" pitchFamily="2" charset="0"/>
              </a:rPr>
              <a:t>DUURZAAM ONDERNEMEN </a:t>
            </a:r>
            <a:r>
              <a:rPr lang="en-US" sz="2646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IN CONTEXT</a:t>
            </a:r>
            <a:endParaRPr lang="nl-NL" sz="5400" kern="0" noProof="1">
              <a:solidFill>
                <a:srgbClr val="F3FBF7"/>
              </a:solidFill>
              <a:latin typeface="Montserrat" panose="00000500000000000000" pitchFamily="2" charset="0"/>
            </a:endParaRPr>
          </a:p>
        </p:txBody>
      </p:sp>
      <p:pic>
        <p:nvPicPr>
          <p:cNvPr id="2050" name="Picture 2" descr="World Map icons for free download | Freepik">
            <a:extLst>
              <a:ext uri="{FF2B5EF4-FFF2-40B4-BE49-F238E27FC236}">
                <a16:creationId xmlns:a16="http://schemas.microsoft.com/office/drawing/2014/main" id="{F121C673-0220-A171-AFAF-0E715AAD49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040" y="1325063"/>
            <a:ext cx="734146" cy="734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4" descr="Office - Free buildings icons">
            <a:extLst>
              <a:ext uri="{FF2B5EF4-FFF2-40B4-BE49-F238E27FC236}">
                <a16:creationId xmlns:a16="http://schemas.microsoft.com/office/drawing/2014/main" id="{B3C1F92E-A351-81D7-CF41-1A6376906D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34" y="4103641"/>
            <a:ext cx="684959" cy="684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Rechte verbindingslijn met pijl 16">
            <a:extLst>
              <a:ext uri="{FF2B5EF4-FFF2-40B4-BE49-F238E27FC236}">
                <a16:creationId xmlns:a16="http://schemas.microsoft.com/office/drawing/2014/main" id="{5410FA83-2A6B-4DFD-2EFB-74DA14648F3B}"/>
              </a:ext>
            </a:extLst>
          </p:cNvPr>
          <p:cNvCxnSpPr>
            <a:cxnSpLocks/>
          </p:cNvCxnSpPr>
          <p:nvPr/>
        </p:nvCxnSpPr>
        <p:spPr>
          <a:xfrm>
            <a:off x="389686" y="5178738"/>
            <a:ext cx="10368280" cy="0"/>
          </a:xfrm>
          <a:prstGeom prst="straightConnector1">
            <a:avLst/>
          </a:prstGeom>
          <a:ln w="57150" cap="rnd">
            <a:solidFill>
              <a:schemeClr val="bg1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chte verbindingslijn 22">
            <a:extLst>
              <a:ext uri="{FF2B5EF4-FFF2-40B4-BE49-F238E27FC236}">
                <a16:creationId xmlns:a16="http://schemas.microsoft.com/office/drawing/2014/main" id="{B04B7C62-B8BE-F0E1-C0FF-32DC6631A44C}"/>
              </a:ext>
            </a:extLst>
          </p:cNvPr>
          <p:cNvCxnSpPr>
            <a:cxnSpLocks/>
          </p:cNvCxnSpPr>
          <p:nvPr/>
        </p:nvCxnSpPr>
        <p:spPr>
          <a:xfrm>
            <a:off x="389687" y="3762101"/>
            <a:ext cx="10454682" cy="0"/>
          </a:xfrm>
          <a:prstGeom prst="line">
            <a:avLst/>
          </a:prstGeom>
          <a:ln w="38100" cap="rnd">
            <a:solidFill>
              <a:srgbClr val="FFFFFF">
                <a:alpha val="40000"/>
              </a:srgbClr>
            </a:solidFill>
            <a:prstDash val="dash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30">
            <a:extLst>
              <a:ext uri="{FF2B5EF4-FFF2-40B4-BE49-F238E27FC236}">
                <a16:creationId xmlns:a16="http://schemas.microsoft.com/office/drawing/2014/main" id="{E09D1C1E-8418-AB81-57F6-642661D60E1C}"/>
              </a:ext>
            </a:extLst>
          </p:cNvPr>
          <p:cNvCxnSpPr>
            <a:cxnSpLocks/>
          </p:cNvCxnSpPr>
          <p:nvPr/>
        </p:nvCxnSpPr>
        <p:spPr>
          <a:xfrm>
            <a:off x="389686" y="2403064"/>
            <a:ext cx="10454682" cy="0"/>
          </a:xfrm>
          <a:prstGeom prst="line">
            <a:avLst/>
          </a:prstGeom>
          <a:ln w="38100" cap="rnd">
            <a:solidFill>
              <a:srgbClr val="FFFFFF">
                <a:alpha val="40000"/>
              </a:srgbClr>
            </a:solidFill>
            <a:prstDash val="dash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vaal 34">
            <a:extLst>
              <a:ext uri="{FF2B5EF4-FFF2-40B4-BE49-F238E27FC236}">
                <a16:creationId xmlns:a16="http://schemas.microsoft.com/office/drawing/2014/main" id="{7B246689-D5A2-8666-4718-FE5E2B30615C}"/>
              </a:ext>
            </a:extLst>
          </p:cNvPr>
          <p:cNvSpPr/>
          <p:nvPr/>
        </p:nvSpPr>
        <p:spPr>
          <a:xfrm>
            <a:off x="2700161" y="5067135"/>
            <a:ext cx="259207" cy="259207"/>
          </a:xfrm>
          <a:prstGeom prst="ellipse">
            <a:avLst/>
          </a:prstGeom>
          <a:solidFill>
            <a:schemeClr val="bg1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</a:pPr>
            <a:endParaRPr lang="en-GB" sz="85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7" name="Tekstvak 36">
            <a:extLst>
              <a:ext uri="{FF2B5EF4-FFF2-40B4-BE49-F238E27FC236}">
                <a16:creationId xmlns:a16="http://schemas.microsoft.com/office/drawing/2014/main" id="{F2AF321D-38BB-199A-BCA5-01C9DABCE9FD}"/>
              </a:ext>
            </a:extLst>
          </p:cNvPr>
          <p:cNvSpPr txBox="1"/>
          <p:nvPr/>
        </p:nvSpPr>
        <p:spPr>
          <a:xfrm>
            <a:off x="2385378" y="5293534"/>
            <a:ext cx="888774" cy="3540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864017"/>
            <a:r>
              <a:rPr lang="en-US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2015</a:t>
            </a:r>
            <a:endParaRPr lang="en-GB">
              <a:solidFill>
                <a:srgbClr val="555C6B"/>
              </a:solidFill>
              <a:latin typeface="Calibri"/>
            </a:endParaRPr>
          </a:p>
        </p:txBody>
      </p:sp>
      <p:pic>
        <p:nvPicPr>
          <p:cNvPr id="2054" name="Picture 6" descr="2015 United Nations Climate Change Conference - Wikipedia">
            <a:extLst>
              <a:ext uri="{FF2B5EF4-FFF2-40B4-BE49-F238E27FC236}">
                <a16:creationId xmlns:a16="http://schemas.microsoft.com/office/drawing/2014/main" id="{24DA73DB-8C6B-D844-A723-2FAEBED69A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8800" y="1084235"/>
            <a:ext cx="652098" cy="1165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2" name="Rechte verbindingslijn 41">
            <a:extLst>
              <a:ext uri="{FF2B5EF4-FFF2-40B4-BE49-F238E27FC236}">
                <a16:creationId xmlns:a16="http://schemas.microsoft.com/office/drawing/2014/main" id="{E9ABC133-5055-F91B-C526-C4DB70A2B1FC}"/>
              </a:ext>
            </a:extLst>
          </p:cNvPr>
          <p:cNvCxnSpPr>
            <a:cxnSpLocks/>
          </p:cNvCxnSpPr>
          <p:nvPr/>
        </p:nvCxnSpPr>
        <p:spPr>
          <a:xfrm>
            <a:off x="1575131" y="1154705"/>
            <a:ext cx="0" cy="4003246"/>
          </a:xfrm>
          <a:prstGeom prst="line">
            <a:avLst/>
          </a:prstGeom>
          <a:ln w="28575" cap="rnd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8" name="Picture 10" descr="Europe - Free maps and location icons">
            <a:extLst>
              <a:ext uri="{FF2B5EF4-FFF2-40B4-BE49-F238E27FC236}">
                <a16:creationId xmlns:a16="http://schemas.microsoft.com/office/drawing/2014/main" id="{840E736B-104F-169E-6919-030ADD2CCB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794" y="2724078"/>
            <a:ext cx="684968" cy="684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Communications materials - United Nations Sustainable ...">
            <a:extLst>
              <a:ext uri="{FF2B5EF4-FFF2-40B4-BE49-F238E27FC236}">
                <a16:creationId xmlns:a16="http://schemas.microsoft.com/office/drawing/2014/main" id="{D2A04407-7B48-FC3E-68BE-5E9638EBF3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7139" y="1119239"/>
            <a:ext cx="1234436" cy="1059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Ovaal 44">
            <a:extLst>
              <a:ext uri="{FF2B5EF4-FFF2-40B4-BE49-F238E27FC236}">
                <a16:creationId xmlns:a16="http://schemas.microsoft.com/office/drawing/2014/main" id="{584FB007-BE1D-CE4A-C621-1B1FFA92F953}"/>
              </a:ext>
            </a:extLst>
          </p:cNvPr>
          <p:cNvSpPr/>
          <p:nvPr/>
        </p:nvSpPr>
        <p:spPr>
          <a:xfrm>
            <a:off x="5455024" y="5067135"/>
            <a:ext cx="259207" cy="259207"/>
          </a:xfrm>
          <a:prstGeom prst="ellipse">
            <a:avLst/>
          </a:prstGeom>
          <a:solidFill>
            <a:schemeClr val="bg1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</a:pPr>
            <a:endParaRPr lang="en-GB" sz="85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6" name="Tekstvak 45">
            <a:extLst>
              <a:ext uri="{FF2B5EF4-FFF2-40B4-BE49-F238E27FC236}">
                <a16:creationId xmlns:a16="http://schemas.microsoft.com/office/drawing/2014/main" id="{435B0CC2-A0BB-154F-F3C0-7B6A9811C52F}"/>
              </a:ext>
            </a:extLst>
          </p:cNvPr>
          <p:cNvSpPr txBox="1"/>
          <p:nvPr/>
        </p:nvSpPr>
        <p:spPr>
          <a:xfrm>
            <a:off x="5140240" y="5293534"/>
            <a:ext cx="888774" cy="3540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864017"/>
            <a:r>
              <a:rPr lang="en-US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2020</a:t>
            </a:r>
            <a:endParaRPr lang="en-GB">
              <a:solidFill>
                <a:srgbClr val="555C6B"/>
              </a:solidFill>
              <a:latin typeface="Calibri"/>
            </a:endParaRPr>
          </a:p>
        </p:txBody>
      </p:sp>
      <p:pic>
        <p:nvPicPr>
          <p:cNvPr id="2062" name="Picture 14" descr="Eu Icons - Free SVG &amp; PNG Eu Images - Noun Project">
            <a:extLst>
              <a:ext uri="{FF2B5EF4-FFF2-40B4-BE49-F238E27FC236}">
                <a16:creationId xmlns:a16="http://schemas.microsoft.com/office/drawing/2014/main" id="{0BA48900-8B2E-CFA2-9AB9-B09DAEE4DE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0826" y="2388369"/>
            <a:ext cx="1352403" cy="1352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Tekstvak 47">
            <a:extLst>
              <a:ext uri="{FF2B5EF4-FFF2-40B4-BE49-F238E27FC236}">
                <a16:creationId xmlns:a16="http://schemas.microsoft.com/office/drawing/2014/main" id="{C2DA0DE1-CF47-0ACC-DB67-E3CF9DF3ACCD}"/>
              </a:ext>
            </a:extLst>
          </p:cNvPr>
          <p:cNvSpPr txBox="1"/>
          <p:nvPr/>
        </p:nvSpPr>
        <p:spPr>
          <a:xfrm>
            <a:off x="4961135" y="2807117"/>
            <a:ext cx="1329783" cy="6159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864017"/>
            <a:r>
              <a:rPr lang="en-US" sz="1134" kern="0" noProof="1">
                <a:solidFill>
                  <a:srgbClr val="F3FBF7"/>
                </a:solidFill>
                <a:latin typeface="Montserrat" panose="00000500000000000000" pitchFamily="2" charset="0"/>
              </a:rPr>
              <a:t>European</a:t>
            </a:r>
          </a:p>
          <a:p>
            <a:pPr algn="ctr" defTabSz="864017"/>
            <a:r>
              <a:rPr lang="en-US" sz="1134" kern="0" noProof="1">
                <a:solidFill>
                  <a:srgbClr val="F3FBF7"/>
                </a:solidFill>
                <a:latin typeface="Montserrat" panose="00000500000000000000" pitchFamily="2" charset="0"/>
              </a:rPr>
              <a:t>Green </a:t>
            </a:r>
          </a:p>
          <a:p>
            <a:pPr algn="ctr" defTabSz="864017"/>
            <a:r>
              <a:rPr lang="en-US" sz="1134" kern="0" noProof="1">
                <a:solidFill>
                  <a:srgbClr val="F3FBF7"/>
                </a:solidFill>
                <a:latin typeface="Montserrat" panose="00000500000000000000" pitchFamily="2" charset="0"/>
              </a:rPr>
              <a:t>Deal</a:t>
            </a:r>
            <a:endParaRPr lang="en-GB" sz="1134">
              <a:solidFill>
                <a:srgbClr val="555C6B"/>
              </a:solidFill>
              <a:latin typeface="Calibri"/>
            </a:endParaRPr>
          </a:p>
        </p:txBody>
      </p:sp>
      <p:pic>
        <p:nvPicPr>
          <p:cNvPr id="49" name="Picture 14" descr="Eu Icons - Free SVG &amp; PNG Eu Images - Noun Project">
            <a:extLst>
              <a:ext uri="{FF2B5EF4-FFF2-40B4-BE49-F238E27FC236}">
                <a16:creationId xmlns:a16="http://schemas.microsoft.com/office/drawing/2014/main" id="{B6C875A4-E90E-35A1-71FF-C9CD76DE6A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5747" y="2388369"/>
            <a:ext cx="1352403" cy="1352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Tekstvak 49">
            <a:extLst>
              <a:ext uri="{FF2B5EF4-FFF2-40B4-BE49-F238E27FC236}">
                <a16:creationId xmlns:a16="http://schemas.microsoft.com/office/drawing/2014/main" id="{BE45B8A8-56F1-EEC7-C1D0-ACF8757CA7BE}"/>
              </a:ext>
            </a:extLst>
          </p:cNvPr>
          <p:cNvSpPr txBox="1"/>
          <p:nvPr/>
        </p:nvSpPr>
        <p:spPr>
          <a:xfrm>
            <a:off x="6484829" y="2780117"/>
            <a:ext cx="1154237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864017"/>
            <a:r>
              <a:rPr lang="en-US" sz="85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C</a:t>
            </a:r>
            <a:r>
              <a:rPr lang="en-US" sz="850" kern="0" noProof="1">
                <a:solidFill>
                  <a:srgbClr val="F3FBF7"/>
                </a:solidFill>
                <a:latin typeface="Montserrat" panose="00000500000000000000" pitchFamily="2" charset="0"/>
              </a:rPr>
              <a:t>orporate</a:t>
            </a:r>
          </a:p>
          <a:p>
            <a:pPr algn="ctr" defTabSz="864017"/>
            <a:r>
              <a:rPr lang="en-US" sz="85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S</a:t>
            </a:r>
            <a:r>
              <a:rPr lang="en-US" sz="850" kern="0" noProof="1">
                <a:solidFill>
                  <a:srgbClr val="F3FBF7"/>
                </a:solidFill>
                <a:latin typeface="Montserrat" panose="00000500000000000000" pitchFamily="2" charset="0"/>
              </a:rPr>
              <a:t>ustainability</a:t>
            </a:r>
          </a:p>
          <a:p>
            <a:pPr algn="ctr" defTabSz="864017"/>
            <a:r>
              <a:rPr lang="en-US" sz="85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R</a:t>
            </a:r>
            <a:r>
              <a:rPr lang="en-US" sz="850" kern="0" noProof="1">
                <a:solidFill>
                  <a:srgbClr val="F3FBF7"/>
                </a:solidFill>
                <a:latin typeface="Montserrat" panose="00000500000000000000" pitchFamily="2" charset="0"/>
              </a:rPr>
              <a:t>eporting </a:t>
            </a:r>
            <a:r>
              <a:rPr lang="en-US" sz="85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D</a:t>
            </a:r>
            <a:r>
              <a:rPr lang="en-US" sz="850" kern="0" noProof="1">
                <a:solidFill>
                  <a:srgbClr val="F3FBF7"/>
                </a:solidFill>
                <a:latin typeface="Montserrat" panose="00000500000000000000" pitchFamily="2" charset="0"/>
              </a:rPr>
              <a:t>irective</a:t>
            </a:r>
            <a:endParaRPr lang="en-GB" sz="850">
              <a:solidFill>
                <a:srgbClr val="555C6B"/>
              </a:solidFill>
              <a:latin typeface="Calibri"/>
            </a:endParaRPr>
          </a:p>
        </p:txBody>
      </p:sp>
      <p:sp>
        <p:nvSpPr>
          <p:cNvPr id="51" name="Ovaal 50">
            <a:extLst>
              <a:ext uri="{FF2B5EF4-FFF2-40B4-BE49-F238E27FC236}">
                <a16:creationId xmlns:a16="http://schemas.microsoft.com/office/drawing/2014/main" id="{8000506C-D906-9E81-7D91-DCA23F77B9E1}"/>
              </a:ext>
            </a:extLst>
          </p:cNvPr>
          <p:cNvSpPr/>
          <p:nvPr/>
        </p:nvSpPr>
        <p:spPr>
          <a:xfrm>
            <a:off x="6991836" y="5066724"/>
            <a:ext cx="259207" cy="259207"/>
          </a:xfrm>
          <a:prstGeom prst="ellipse">
            <a:avLst/>
          </a:prstGeom>
          <a:solidFill>
            <a:schemeClr val="bg1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</a:pPr>
            <a:endParaRPr lang="en-GB" sz="85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2" name="Tekstvak 51">
            <a:extLst>
              <a:ext uri="{FF2B5EF4-FFF2-40B4-BE49-F238E27FC236}">
                <a16:creationId xmlns:a16="http://schemas.microsoft.com/office/drawing/2014/main" id="{4F933B4E-9F70-2262-05FD-79C625BE5E9A}"/>
              </a:ext>
            </a:extLst>
          </p:cNvPr>
          <p:cNvSpPr txBox="1"/>
          <p:nvPr/>
        </p:nvSpPr>
        <p:spPr>
          <a:xfrm>
            <a:off x="6677053" y="5293123"/>
            <a:ext cx="888774" cy="3540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864017"/>
            <a:r>
              <a:rPr lang="en-US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2023</a:t>
            </a:r>
            <a:endParaRPr lang="en-GB">
              <a:solidFill>
                <a:srgbClr val="555C6B"/>
              </a:solidFill>
              <a:latin typeface="Calibri"/>
            </a:endParaRPr>
          </a:p>
        </p:txBody>
      </p:sp>
      <p:pic>
        <p:nvPicPr>
          <p:cNvPr id="53" name="Picture 14" descr="Eu Icons - Free SVG &amp; PNG Eu Images - Noun Project">
            <a:extLst>
              <a:ext uri="{FF2B5EF4-FFF2-40B4-BE49-F238E27FC236}">
                <a16:creationId xmlns:a16="http://schemas.microsoft.com/office/drawing/2014/main" id="{A510CAA8-138C-D703-4DAC-B41AD0404D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5828" y="2388957"/>
            <a:ext cx="1352403" cy="1352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Tekstvak 53">
            <a:extLst>
              <a:ext uri="{FF2B5EF4-FFF2-40B4-BE49-F238E27FC236}">
                <a16:creationId xmlns:a16="http://schemas.microsoft.com/office/drawing/2014/main" id="{D000B7F0-4AE8-3EF7-D668-3621365E58D0}"/>
              </a:ext>
            </a:extLst>
          </p:cNvPr>
          <p:cNvSpPr txBox="1"/>
          <p:nvPr/>
        </p:nvSpPr>
        <p:spPr>
          <a:xfrm>
            <a:off x="7664910" y="2780704"/>
            <a:ext cx="1154237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864017"/>
            <a:r>
              <a:rPr lang="en-US" sz="85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C</a:t>
            </a:r>
            <a:r>
              <a:rPr lang="en-US" sz="850" kern="0" noProof="1">
                <a:solidFill>
                  <a:srgbClr val="F3FBF7"/>
                </a:solidFill>
                <a:latin typeface="Montserrat" panose="00000500000000000000" pitchFamily="2" charset="0"/>
              </a:rPr>
              <a:t>orporate</a:t>
            </a:r>
          </a:p>
          <a:p>
            <a:pPr algn="ctr" defTabSz="864017"/>
            <a:r>
              <a:rPr lang="en-US" sz="85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S</a:t>
            </a:r>
            <a:r>
              <a:rPr lang="en-US" sz="850" kern="0" noProof="1">
                <a:solidFill>
                  <a:srgbClr val="F3FBF7"/>
                </a:solidFill>
                <a:latin typeface="Montserrat" panose="00000500000000000000" pitchFamily="2" charset="0"/>
              </a:rPr>
              <a:t>ustainability</a:t>
            </a:r>
          </a:p>
          <a:p>
            <a:pPr algn="ctr" defTabSz="864017"/>
            <a:r>
              <a:rPr lang="en-US" sz="85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D</a:t>
            </a:r>
            <a:r>
              <a:rPr lang="en-US" sz="850" kern="0" noProof="1">
                <a:solidFill>
                  <a:srgbClr val="F3FBF7"/>
                </a:solidFill>
                <a:latin typeface="Montserrat" panose="00000500000000000000" pitchFamily="2" charset="0"/>
              </a:rPr>
              <a:t>ue </a:t>
            </a:r>
            <a:r>
              <a:rPr lang="en-US" sz="85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D</a:t>
            </a:r>
            <a:r>
              <a:rPr lang="en-US" sz="850" kern="0" noProof="1">
                <a:solidFill>
                  <a:srgbClr val="F3FBF7"/>
                </a:solidFill>
                <a:latin typeface="Montserrat" panose="00000500000000000000" pitchFamily="2" charset="0"/>
              </a:rPr>
              <a:t>iligence </a:t>
            </a:r>
            <a:r>
              <a:rPr lang="en-US" sz="85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D</a:t>
            </a:r>
            <a:r>
              <a:rPr lang="en-US" sz="850" kern="0" noProof="1">
                <a:solidFill>
                  <a:srgbClr val="F3FBF7"/>
                </a:solidFill>
                <a:latin typeface="Montserrat" panose="00000500000000000000" pitchFamily="2" charset="0"/>
              </a:rPr>
              <a:t>irective</a:t>
            </a:r>
            <a:endParaRPr lang="en-GB" sz="850">
              <a:solidFill>
                <a:srgbClr val="555C6B"/>
              </a:solidFill>
              <a:latin typeface="Calibri"/>
            </a:endParaRPr>
          </a:p>
        </p:txBody>
      </p:sp>
      <p:sp>
        <p:nvSpPr>
          <p:cNvPr id="55" name="Ovaal 54">
            <a:extLst>
              <a:ext uri="{FF2B5EF4-FFF2-40B4-BE49-F238E27FC236}">
                <a16:creationId xmlns:a16="http://schemas.microsoft.com/office/drawing/2014/main" id="{6370FE93-73A7-79D1-AC92-AFA78B1C4F28}"/>
              </a:ext>
            </a:extLst>
          </p:cNvPr>
          <p:cNvSpPr/>
          <p:nvPr/>
        </p:nvSpPr>
        <p:spPr>
          <a:xfrm>
            <a:off x="8136365" y="5066724"/>
            <a:ext cx="259207" cy="259207"/>
          </a:xfrm>
          <a:prstGeom prst="ellipse">
            <a:avLst/>
          </a:prstGeom>
          <a:solidFill>
            <a:schemeClr val="bg1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</a:pPr>
            <a:endParaRPr lang="en-GB" sz="85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6" name="Tekstvak 55">
            <a:extLst>
              <a:ext uri="{FF2B5EF4-FFF2-40B4-BE49-F238E27FC236}">
                <a16:creationId xmlns:a16="http://schemas.microsoft.com/office/drawing/2014/main" id="{291DF57A-293E-ECEC-736D-6ECD9235508E}"/>
              </a:ext>
            </a:extLst>
          </p:cNvPr>
          <p:cNvSpPr txBox="1"/>
          <p:nvPr/>
        </p:nvSpPr>
        <p:spPr>
          <a:xfrm>
            <a:off x="7821581" y="5293123"/>
            <a:ext cx="888774" cy="3540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864017"/>
            <a:r>
              <a:rPr lang="en-US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2024</a:t>
            </a:r>
            <a:endParaRPr lang="en-GB">
              <a:solidFill>
                <a:srgbClr val="555C6B"/>
              </a:solidFill>
              <a:latin typeface="Calibri"/>
            </a:endParaRPr>
          </a:p>
        </p:txBody>
      </p:sp>
      <p:sp>
        <p:nvSpPr>
          <p:cNvPr id="57" name="Ovaal 56">
            <a:extLst>
              <a:ext uri="{FF2B5EF4-FFF2-40B4-BE49-F238E27FC236}">
                <a16:creationId xmlns:a16="http://schemas.microsoft.com/office/drawing/2014/main" id="{1228F1E2-A9AF-5AF4-3F74-81DF61F1DBBB}"/>
              </a:ext>
            </a:extLst>
          </p:cNvPr>
          <p:cNvSpPr/>
          <p:nvPr/>
        </p:nvSpPr>
        <p:spPr>
          <a:xfrm>
            <a:off x="9761949" y="5066724"/>
            <a:ext cx="259207" cy="259207"/>
          </a:xfrm>
          <a:prstGeom prst="ellipse">
            <a:avLst/>
          </a:prstGeom>
          <a:solidFill>
            <a:schemeClr val="bg1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</a:pPr>
            <a:endParaRPr lang="en-GB" sz="85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8" name="Tekstvak 57">
            <a:extLst>
              <a:ext uri="{FF2B5EF4-FFF2-40B4-BE49-F238E27FC236}">
                <a16:creationId xmlns:a16="http://schemas.microsoft.com/office/drawing/2014/main" id="{220EE1C7-1E40-2A5D-CB92-581A11A8E144}"/>
              </a:ext>
            </a:extLst>
          </p:cNvPr>
          <p:cNvSpPr txBox="1"/>
          <p:nvPr/>
        </p:nvSpPr>
        <p:spPr>
          <a:xfrm>
            <a:off x="9447165" y="5293123"/>
            <a:ext cx="888774" cy="3540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864017"/>
            <a:r>
              <a:rPr lang="en-US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2027</a:t>
            </a:r>
            <a:endParaRPr lang="en-GB">
              <a:solidFill>
                <a:srgbClr val="555C6B"/>
              </a:solidFill>
              <a:latin typeface="Calibri"/>
            </a:endParaRPr>
          </a:p>
        </p:txBody>
      </p:sp>
      <p:sp>
        <p:nvSpPr>
          <p:cNvPr id="59" name="Tekstvak 58">
            <a:extLst>
              <a:ext uri="{FF2B5EF4-FFF2-40B4-BE49-F238E27FC236}">
                <a16:creationId xmlns:a16="http://schemas.microsoft.com/office/drawing/2014/main" id="{B4483B7C-2D14-C965-A290-56E5E7208DA2}"/>
              </a:ext>
            </a:extLst>
          </p:cNvPr>
          <p:cNvSpPr txBox="1"/>
          <p:nvPr/>
        </p:nvSpPr>
        <p:spPr>
          <a:xfrm>
            <a:off x="7594806" y="4115784"/>
            <a:ext cx="1336285" cy="717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864017"/>
            <a:r>
              <a:rPr lang="en-US" sz="1512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CSRD</a:t>
            </a:r>
            <a:endParaRPr lang="en-US" sz="850" b="1" kern="0" noProof="1">
              <a:solidFill>
                <a:srgbClr val="F3FBF7"/>
              </a:solidFill>
              <a:latin typeface="Montserrat" panose="00000500000000000000" pitchFamily="2" charset="0"/>
            </a:endParaRPr>
          </a:p>
          <a:p>
            <a:pPr algn="ctr" defTabSz="864017"/>
            <a:r>
              <a:rPr lang="en-US" sz="850" kern="0" noProof="1">
                <a:solidFill>
                  <a:srgbClr val="F3FBF7"/>
                </a:solidFill>
                <a:latin typeface="Montserrat" panose="00000500000000000000" pitchFamily="2" charset="0"/>
              </a:rPr>
              <a:t>Eerste bedrijven over boekjaar 2024 ESG-rapporteren in 2025</a:t>
            </a:r>
            <a:endParaRPr lang="en-GB" sz="850">
              <a:solidFill>
                <a:srgbClr val="555C6B"/>
              </a:solidFill>
              <a:latin typeface="Calibri"/>
            </a:endParaRPr>
          </a:p>
        </p:txBody>
      </p:sp>
      <p:sp>
        <p:nvSpPr>
          <p:cNvPr id="60" name="Tekstvak 59">
            <a:extLst>
              <a:ext uri="{FF2B5EF4-FFF2-40B4-BE49-F238E27FC236}">
                <a16:creationId xmlns:a16="http://schemas.microsoft.com/office/drawing/2014/main" id="{E6300547-98C4-2DC5-2C17-25F202938CDE}"/>
              </a:ext>
            </a:extLst>
          </p:cNvPr>
          <p:cNvSpPr txBox="1"/>
          <p:nvPr/>
        </p:nvSpPr>
        <p:spPr>
          <a:xfrm>
            <a:off x="9314434" y="4097583"/>
            <a:ext cx="1154237" cy="8482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864017"/>
            <a:r>
              <a:rPr lang="en-US" sz="1512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CSDDD</a:t>
            </a:r>
            <a:endParaRPr lang="en-US" sz="850" b="1" kern="0" noProof="1">
              <a:solidFill>
                <a:srgbClr val="F3FBF7"/>
              </a:solidFill>
              <a:latin typeface="Montserrat" panose="00000500000000000000" pitchFamily="2" charset="0"/>
            </a:endParaRPr>
          </a:p>
          <a:p>
            <a:pPr algn="ctr" defTabSz="864017"/>
            <a:r>
              <a:rPr lang="en-US" sz="850" kern="0" noProof="1">
                <a:solidFill>
                  <a:srgbClr val="F3FBF7"/>
                </a:solidFill>
                <a:latin typeface="Montserrat" panose="00000500000000000000" pitchFamily="2" charset="0"/>
              </a:rPr>
              <a:t>Eerste bedrijven ketenverant-woordelijk en aansprakelijk</a:t>
            </a:r>
            <a:endParaRPr lang="en-GB" sz="850">
              <a:solidFill>
                <a:srgbClr val="555C6B"/>
              </a:solidFill>
              <a:latin typeface="Calibri"/>
            </a:endParaRP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5BBB249D-A43E-1DEF-9D73-AD546F0FF6E4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8" name="Picture 2" descr="Nationale Coalitie Duurzame Digitalisering">
            <a:extLst>
              <a:ext uri="{FF2B5EF4-FFF2-40B4-BE49-F238E27FC236}">
                <a16:creationId xmlns:a16="http://schemas.microsoft.com/office/drawing/2014/main" id="{0D0BB649-2B38-60A2-EB89-870409F29D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735E851F-CE42-0570-8EB2-04AF00754DEE}"/>
              </a:ext>
            </a:extLst>
          </p:cNvPr>
          <p:cNvSpPr txBox="1">
            <a:spLocks/>
          </p:cNvSpPr>
          <p:nvPr/>
        </p:nvSpPr>
        <p:spPr>
          <a:xfrm>
            <a:off x="125480" y="5917710"/>
            <a:ext cx="7409986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</a:t>
            </a:r>
            <a:r>
              <a:rPr kumimoji="0" lang="nl-NL" sz="2400" b="1" i="0" u="none" strike="noStrike" kern="1200" cap="all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BeYOND</a:t>
            </a: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0755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CFADEDBE-FB19-44D6-B279-5F1A80733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526" y="6119637"/>
            <a:ext cx="431787" cy="360352"/>
          </a:xfrm>
        </p:spPr>
        <p:txBody>
          <a:bodyPr/>
          <a:lstStyle/>
          <a:p>
            <a:pPr defTabSz="864006">
              <a:defRPr/>
            </a:pPr>
            <a:fld id="{2882D01A-ED25-4F30-894A-E32B487BCBA5}" type="slidenum">
              <a:rPr lang="nl-NL">
                <a:solidFill>
                  <a:srgbClr val="F4F6F8">
                    <a:lumMod val="75000"/>
                  </a:srgbClr>
                </a:solidFill>
              </a:rPr>
              <a:pPr defTabSz="864006">
                <a:defRPr/>
              </a:pPr>
              <a:t>13</a:t>
            </a:fld>
            <a:endParaRPr lang="nl-NL">
              <a:solidFill>
                <a:srgbClr val="F4F6F8">
                  <a:lumMod val="75000"/>
                </a:srgbClr>
              </a:solidFill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533073BA-6013-1AF3-7218-93A97C22B9DF}"/>
              </a:ext>
            </a:extLst>
          </p:cNvPr>
          <p:cNvSpPr/>
          <p:nvPr/>
        </p:nvSpPr>
        <p:spPr>
          <a:xfrm>
            <a:off x="-16842" y="-7979"/>
            <a:ext cx="11537156" cy="1141785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8" tIns="35998" rIns="35998" bIns="359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06">
              <a:buClr>
                <a:srgbClr val="4AC300"/>
              </a:buClr>
              <a:defRPr/>
            </a:pPr>
            <a:endParaRPr lang="en-GB" sz="90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TextBox 80">
            <a:extLst>
              <a:ext uri="{FF2B5EF4-FFF2-40B4-BE49-F238E27FC236}">
                <a16:creationId xmlns:a16="http://schemas.microsoft.com/office/drawing/2014/main" id="{E4B56F38-D319-1E33-83EB-0F04349BE264}"/>
              </a:ext>
            </a:extLst>
          </p:cNvPr>
          <p:cNvSpPr txBox="1"/>
          <p:nvPr/>
        </p:nvSpPr>
        <p:spPr>
          <a:xfrm>
            <a:off x="250992" y="183538"/>
            <a:ext cx="7487158" cy="803938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 defTabSz="914332">
              <a:defRPr/>
            </a:pPr>
            <a:r>
              <a:rPr lang="en-US" sz="16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Introductie Duurzaamheid</a:t>
            </a:r>
            <a:br>
              <a:rPr lang="en-US" sz="1800" b="1" kern="0" noProof="1">
                <a:solidFill>
                  <a:srgbClr val="F3FBF7"/>
                </a:solidFill>
                <a:latin typeface="Montserrat" panose="00000500000000000000" pitchFamily="2" charset="0"/>
              </a:rPr>
            </a:br>
            <a:r>
              <a:rPr lang="en-US" sz="3024" kern="0" noProof="1">
                <a:solidFill>
                  <a:srgbClr val="F3FBF7"/>
                </a:solidFill>
                <a:latin typeface="Montserrat" panose="00000500000000000000" pitchFamily="2" charset="0"/>
              </a:rPr>
              <a:t>DUURZAAMHEID</a:t>
            </a:r>
            <a:r>
              <a:rPr lang="en-US" sz="3024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 ESG</a:t>
            </a:r>
            <a:endParaRPr lang="nl-NL" sz="5400" b="1" kern="0" noProof="1">
              <a:solidFill>
                <a:srgbClr val="F3FBF7"/>
              </a:solidFill>
              <a:latin typeface="Montserrat" panose="00000500000000000000" pitchFamily="2" charset="0"/>
            </a:endParaRP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61487E1E-F751-4A85-2826-C0B6250EA156}"/>
              </a:ext>
            </a:extLst>
          </p:cNvPr>
          <p:cNvSpPr/>
          <p:nvPr/>
        </p:nvSpPr>
        <p:spPr>
          <a:xfrm>
            <a:off x="333" y="5804374"/>
            <a:ext cx="11520312" cy="67557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9" tIns="35999" rIns="35999" bIns="359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3949">
              <a:buClr>
                <a:srgbClr val="4AC300"/>
              </a:buClr>
            </a:pPr>
            <a:endParaRPr lang="en-GB" sz="90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EEA70FF-FBDA-9094-1335-04DC60F2E63E}"/>
              </a:ext>
            </a:extLst>
          </p:cNvPr>
          <p:cNvSpPr txBox="1">
            <a:spLocks/>
          </p:cNvSpPr>
          <p:nvPr/>
        </p:nvSpPr>
        <p:spPr>
          <a:xfrm>
            <a:off x="125565" y="5917669"/>
            <a:ext cx="10296082" cy="461663"/>
          </a:xfrm>
          <a:prstGeom prst="rect">
            <a:avLst/>
          </a:prstGeom>
        </p:spPr>
        <p:txBody>
          <a:bodyPr vert="horz" wrap="square" lIns="91439" tIns="45719" rIns="91439" bIns="45719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defTabSz="914343">
              <a:defRPr/>
            </a:pPr>
            <a:r>
              <a:rPr lang="nl-NL" sz="2400" b="0">
                <a:solidFill>
                  <a:srgbClr val="FFFFFF"/>
                </a:solidFill>
                <a:latin typeface="Montserrat" panose="00000500000000000000" pitchFamily="2" charset="0"/>
              </a:rPr>
              <a:t>Duurzaam ondernemen</a:t>
            </a:r>
          </a:p>
        </p:txBody>
      </p: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5E28E682-D7C8-30F6-B531-6E0BF82281B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1969" y="5986414"/>
            <a:ext cx="1125091" cy="284003"/>
          </a:xfrm>
          <a:prstGeom prst="rect">
            <a:avLst/>
          </a:prstGeom>
        </p:spPr>
      </p:pic>
      <p:pic>
        <p:nvPicPr>
          <p:cNvPr id="4" name="Afbeelding 3">
            <a:extLst>
              <a:ext uri="{FF2B5EF4-FFF2-40B4-BE49-F238E27FC236}">
                <a16:creationId xmlns:a16="http://schemas.microsoft.com/office/drawing/2014/main" id="{C6D9C472-B77B-03F6-71CB-287B7317BFA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7949" y="5725728"/>
            <a:ext cx="1670045" cy="787905"/>
          </a:xfrm>
          <a:prstGeom prst="rect">
            <a:avLst/>
          </a:prstGeom>
        </p:spPr>
      </p:pic>
      <p:pic>
        <p:nvPicPr>
          <p:cNvPr id="12290" name="Picture 2" descr="The Intersection between SDG and ESG in the Modern World">
            <a:extLst>
              <a:ext uri="{FF2B5EF4-FFF2-40B4-BE49-F238E27FC236}">
                <a16:creationId xmlns:a16="http://schemas.microsoft.com/office/drawing/2014/main" id="{753EE4FE-1FE8-782A-617A-4DCB4EDD34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602" y="1930873"/>
            <a:ext cx="5747713" cy="291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2" name="Picture 4" descr="ESRS in a Nutshell: Achieving CSRD Compliance | denkstatt">
            <a:extLst>
              <a:ext uri="{FF2B5EF4-FFF2-40B4-BE49-F238E27FC236}">
                <a16:creationId xmlns:a16="http://schemas.microsoft.com/office/drawing/2014/main" id="{D30A2590-B791-5FE7-0241-6D5BA269DB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351" y="1896410"/>
            <a:ext cx="4836544" cy="3119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hthoek 5">
            <a:extLst>
              <a:ext uri="{FF2B5EF4-FFF2-40B4-BE49-F238E27FC236}">
                <a16:creationId xmlns:a16="http://schemas.microsoft.com/office/drawing/2014/main" id="{A81B1448-6024-2AC8-CB6A-C83D527AF69A}"/>
              </a:ext>
            </a:extLst>
          </p:cNvPr>
          <p:cNvSpPr/>
          <p:nvPr/>
        </p:nvSpPr>
        <p:spPr>
          <a:xfrm>
            <a:off x="4616589" y="4801225"/>
            <a:ext cx="657018" cy="356838"/>
          </a:xfrm>
          <a:prstGeom prst="rect">
            <a:avLst/>
          </a:prstGeom>
          <a:solidFill>
            <a:schemeClr val="bg1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3"/>
              </a:buClr>
            </a:pPr>
            <a:endParaRPr lang="en-GB" sz="850" err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2438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36B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3" name="TextBox 80">
            <a:extLst>
              <a:ext uri="{FF2B5EF4-FFF2-40B4-BE49-F238E27FC236}">
                <a16:creationId xmlns:a16="http://schemas.microsoft.com/office/drawing/2014/main" id="{A4CE7FE6-CBDB-E73F-BF5C-D64EB43418F2}"/>
              </a:ext>
            </a:extLst>
          </p:cNvPr>
          <p:cNvSpPr txBox="1"/>
          <p:nvPr/>
        </p:nvSpPr>
        <p:spPr>
          <a:xfrm>
            <a:off x="6146708" y="276877"/>
            <a:ext cx="3731394" cy="923330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 algn="r" defTabSz="914354">
              <a:defRPr/>
            </a:pPr>
            <a:r>
              <a:rPr kumimoji="0" lang="en-US" sz="1800" b="1" i="0" u="none" strike="noStrike" kern="0" cap="none" spc="0" normalizeH="0" baseline="0" noProof="1">
                <a:ln>
                  <a:noFill/>
                </a:ln>
                <a:solidFill>
                  <a:srgbClr val="F3FBF7"/>
                </a:solidFill>
                <a:effectLst/>
                <a:uLnTx/>
                <a:uFillTx/>
                <a:latin typeface="Montserrat"/>
              </a:rPr>
              <a:t>1. </a:t>
            </a:r>
            <a:r>
              <a:rPr lang="en-US" sz="1800" kern="0" noProof="1">
                <a:solidFill>
                  <a:srgbClr val="F3FBF7"/>
                </a:solidFill>
                <a:latin typeface="Montserrat"/>
              </a:rPr>
              <a:t>Waardeketen, </a:t>
            </a:r>
            <a:r>
              <a:rPr lang="nl-NL" sz="1800" kern="0" noProof="1">
                <a:solidFill>
                  <a:srgbClr val="F3FBF7"/>
                </a:solidFill>
                <a:latin typeface="Montserrat"/>
              </a:rPr>
              <a:t>Dubbele m</a:t>
            </a:r>
            <a:r>
              <a:rPr kumimoji="0" lang="nl-NL" sz="1800" b="0" i="0" u="none" strike="noStrike" kern="0" cap="none" spc="0" normalizeH="0" baseline="0" noProof="1">
                <a:ln>
                  <a:noFill/>
                </a:ln>
                <a:solidFill>
                  <a:srgbClr val="F3FBF7"/>
                </a:solidFill>
                <a:effectLst/>
                <a:uLnTx/>
                <a:uFillTx/>
                <a:latin typeface="Montserrat"/>
              </a:rPr>
              <a:t>aterialiteits-analyse &amp; organisatie</a:t>
            </a:r>
          </a:p>
        </p:txBody>
      </p:sp>
      <p:sp>
        <p:nvSpPr>
          <p:cNvPr id="1049" name="TextBox 86">
            <a:extLst>
              <a:ext uri="{FF2B5EF4-FFF2-40B4-BE49-F238E27FC236}">
                <a16:creationId xmlns:a16="http://schemas.microsoft.com/office/drawing/2014/main" id="{AA892CAC-8EFD-BEA6-73F8-7D4595024E2F}"/>
              </a:ext>
            </a:extLst>
          </p:cNvPr>
          <p:cNvSpPr txBox="1"/>
          <p:nvPr/>
        </p:nvSpPr>
        <p:spPr>
          <a:xfrm>
            <a:off x="7053779" y="2769167"/>
            <a:ext cx="3980006" cy="646331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1">
                <a:ln>
                  <a:noFill/>
                </a:ln>
                <a:solidFill>
                  <a:srgbClr val="F3FBF7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2. </a:t>
            </a:r>
            <a:r>
              <a:rPr kumimoji="0" lang="nl-NL" sz="1800" b="0" i="0" u="none" strike="noStrike" kern="0" cap="none" spc="0" normalizeH="0" baseline="0" noProof="1">
                <a:ln>
                  <a:noFill/>
                </a:ln>
                <a:solidFill>
                  <a:srgbClr val="F3FBF7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Rapportageoplossing &amp; beschikbaarheid data</a:t>
            </a:r>
            <a:endParaRPr kumimoji="0" lang="en-US" sz="1800" b="0" i="0" u="none" strike="noStrike" kern="0" cap="none" spc="0" normalizeH="0" baseline="0" noProof="1">
              <a:ln>
                <a:noFill/>
              </a:ln>
              <a:solidFill>
                <a:srgbClr val="F3FBF7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052" name="TextBox 83">
            <a:extLst>
              <a:ext uri="{FF2B5EF4-FFF2-40B4-BE49-F238E27FC236}">
                <a16:creationId xmlns:a16="http://schemas.microsoft.com/office/drawing/2014/main" id="{BB47DAF1-C0CA-8B2F-D36A-E47810A4ED9A}"/>
              </a:ext>
            </a:extLst>
          </p:cNvPr>
          <p:cNvSpPr txBox="1"/>
          <p:nvPr/>
        </p:nvSpPr>
        <p:spPr>
          <a:xfrm>
            <a:off x="6694743" y="4758652"/>
            <a:ext cx="3034054" cy="369332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kern="0" noProof="1">
                <a:solidFill>
                  <a:srgbClr val="F3FBF7"/>
                </a:solidFill>
                <a:latin typeface="Montserrat"/>
              </a:rPr>
              <a:t>3</a:t>
            </a:r>
            <a:r>
              <a:rPr kumimoji="0" lang="en-US" sz="1800" b="1" i="0" u="none" strike="noStrike" kern="0" cap="none" spc="0" normalizeH="0" baseline="0" noProof="1">
                <a:ln>
                  <a:noFill/>
                </a:ln>
                <a:solidFill>
                  <a:srgbClr val="F3FBF7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. </a:t>
            </a:r>
            <a:r>
              <a:rPr kumimoji="0" lang="en-US" sz="1800" b="0" i="0" u="none" strike="noStrike" kern="0" cap="none" spc="0" normalizeH="0" baseline="0" noProof="1">
                <a:ln>
                  <a:noFill/>
                </a:ln>
                <a:solidFill>
                  <a:srgbClr val="F3FBF7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Verbind databronnen</a:t>
            </a:r>
          </a:p>
        </p:txBody>
      </p:sp>
      <p:sp>
        <p:nvSpPr>
          <p:cNvPr id="1061" name="Tekstvak 1060">
            <a:extLst>
              <a:ext uri="{FF2B5EF4-FFF2-40B4-BE49-F238E27FC236}">
                <a16:creationId xmlns:a16="http://schemas.microsoft.com/office/drawing/2014/main" id="{CD6374CD-E757-256D-76A6-8D20D7E6514E}"/>
              </a:ext>
            </a:extLst>
          </p:cNvPr>
          <p:cNvSpPr txBox="1"/>
          <p:nvPr/>
        </p:nvSpPr>
        <p:spPr>
          <a:xfrm>
            <a:off x="2881313" y="3002109"/>
            <a:ext cx="58007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1">
                <a:ln>
                  <a:noFill/>
                </a:ln>
                <a:solidFill>
                  <a:srgbClr val="00BCE2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endParaRPr kumimoji="0" lang="en-GB" sz="1701" b="0" i="0" u="none" strike="noStrike" kern="1200" cap="none" spc="0" normalizeH="0" baseline="0" noProof="0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63" name="TextBox 71">
            <a:extLst>
              <a:ext uri="{FF2B5EF4-FFF2-40B4-BE49-F238E27FC236}">
                <a16:creationId xmlns:a16="http://schemas.microsoft.com/office/drawing/2014/main" id="{3C83CDFD-DD31-1B63-EDFF-2A307DDA6431}"/>
              </a:ext>
            </a:extLst>
          </p:cNvPr>
          <p:cNvSpPr txBox="1"/>
          <p:nvPr/>
        </p:nvSpPr>
        <p:spPr>
          <a:xfrm>
            <a:off x="2245592" y="4347734"/>
            <a:ext cx="2856177" cy="646331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1">
                <a:ln>
                  <a:noFill/>
                </a:ln>
                <a:solidFill>
                  <a:srgbClr val="F3FBF7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4. </a:t>
            </a:r>
            <a:r>
              <a:rPr kumimoji="0" lang="en-US" sz="1800" b="0" i="0" u="none" strike="noStrike" kern="0" cap="none" spc="0" normalizeH="0" baseline="0" noProof="1">
                <a:ln>
                  <a:noFill/>
                </a:ln>
                <a:solidFill>
                  <a:srgbClr val="F3FBF7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erekening &amp; conversie</a:t>
            </a:r>
          </a:p>
        </p:txBody>
      </p:sp>
      <p:grpSp>
        <p:nvGrpSpPr>
          <p:cNvPr id="3" name="Group 23">
            <a:extLst>
              <a:ext uri="{FF2B5EF4-FFF2-40B4-BE49-F238E27FC236}">
                <a16:creationId xmlns:a16="http://schemas.microsoft.com/office/drawing/2014/main" id="{8B647FD1-9B08-BF08-A3D3-44422A83D38F}"/>
              </a:ext>
            </a:extLst>
          </p:cNvPr>
          <p:cNvGrpSpPr>
            <a:grpSpLocks/>
          </p:cNvGrpSpPr>
          <p:nvPr/>
        </p:nvGrpSpPr>
        <p:grpSpPr>
          <a:xfrm>
            <a:off x="3480978" y="651977"/>
            <a:ext cx="4305993" cy="4305993"/>
            <a:chOff x="3703044" y="1238239"/>
            <a:chExt cx="4785911" cy="4780994"/>
          </a:xfrm>
        </p:grpSpPr>
        <p:sp>
          <p:nvSpPr>
            <p:cNvPr id="4" name="Freeform 24">
              <a:extLst>
                <a:ext uri="{FF2B5EF4-FFF2-40B4-BE49-F238E27FC236}">
                  <a16:creationId xmlns:a16="http://schemas.microsoft.com/office/drawing/2014/main" id="{5FB2383E-698F-D905-20CB-CF54165846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4634" y="4273088"/>
              <a:ext cx="2365903" cy="1746145"/>
            </a:xfrm>
            <a:custGeom>
              <a:avLst/>
              <a:gdLst>
                <a:gd name="T0" fmla="*/ 298 w 1922"/>
                <a:gd name="T1" fmla="*/ 324 h 1419"/>
                <a:gd name="T2" fmla="*/ 0 w 1922"/>
                <a:gd name="T3" fmla="*/ 875 h 1419"/>
                <a:gd name="T4" fmla="*/ 298 w 1922"/>
                <a:gd name="T5" fmla="*/ 1419 h 1419"/>
                <a:gd name="T6" fmla="*/ 301 w 1922"/>
                <a:gd name="T7" fmla="*/ 1419 h 1419"/>
                <a:gd name="T8" fmla="*/ 364 w 1922"/>
                <a:gd name="T9" fmla="*/ 1418 h 1419"/>
                <a:gd name="T10" fmla="*/ 490 w 1922"/>
                <a:gd name="T11" fmla="*/ 1410 h 1419"/>
                <a:gd name="T12" fmla="*/ 612 w 1922"/>
                <a:gd name="T13" fmla="*/ 1394 h 1419"/>
                <a:gd name="T14" fmla="*/ 732 w 1922"/>
                <a:gd name="T15" fmla="*/ 1371 h 1419"/>
                <a:gd name="T16" fmla="*/ 849 w 1922"/>
                <a:gd name="T17" fmla="*/ 1341 h 1419"/>
                <a:gd name="T18" fmla="*/ 964 w 1922"/>
                <a:gd name="T19" fmla="*/ 1304 h 1419"/>
                <a:gd name="T20" fmla="*/ 1075 w 1922"/>
                <a:gd name="T21" fmla="*/ 1260 h 1419"/>
                <a:gd name="T22" fmla="*/ 1182 w 1922"/>
                <a:gd name="T23" fmla="*/ 1209 h 1419"/>
                <a:gd name="T24" fmla="*/ 1287 w 1922"/>
                <a:gd name="T25" fmla="*/ 1152 h 1419"/>
                <a:gd name="T26" fmla="*/ 1387 w 1922"/>
                <a:gd name="T27" fmla="*/ 1088 h 1419"/>
                <a:gd name="T28" fmla="*/ 1482 w 1922"/>
                <a:gd name="T29" fmla="*/ 1020 h 1419"/>
                <a:gd name="T30" fmla="*/ 1574 w 1922"/>
                <a:gd name="T31" fmla="*/ 946 h 1419"/>
                <a:gd name="T32" fmla="*/ 1660 w 1922"/>
                <a:gd name="T33" fmla="*/ 866 h 1419"/>
                <a:gd name="T34" fmla="*/ 1742 w 1922"/>
                <a:gd name="T35" fmla="*/ 781 h 1419"/>
                <a:gd name="T36" fmla="*/ 1819 w 1922"/>
                <a:gd name="T37" fmla="*/ 692 h 1419"/>
                <a:gd name="T38" fmla="*/ 1889 w 1922"/>
                <a:gd name="T39" fmla="*/ 597 h 1419"/>
                <a:gd name="T40" fmla="*/ 1922 w 1922"/>
                <a:gd name="T41" fmla="*/ 549 h 1419"/>
                <a:gd name="T42" fmla="*/ 1298 w 1922"/>
                <a:gd name="T43" fmla="*/ 535 h 1419"/>
                <a:gd name="T44" fmla="*/ 970 w 1922"/>
                <a:gd name="T45" fmla="*/ 0 h 1419"/>
                <a:gd name="T46" fmla="*/ 940 w 1922"/>
                <a:gd name="T47" fmla="*/ 36 h 1419"/>
                <a:gd name="T48" fmla="*/ 874 w 1922"/>
                <a:gd name="T49" fmla="*/ 103 h 1419"/>
                <a:gd name="T50" fmla="*/ 800 w 1922"/>
                <a:gd name="T51" fmla="*/ 163 h 1419"/>
                <a:gd name="T52" fmla="*/ 721 w 1922"/>
                <a:gd name="T53" fmla="*/ 214 h 1419"/>
                <a:gd name="T54" fmla="*/ 635 w 1922"/>
                <a:gd name="T55" fmla="*/ 256 h 1419"/>
                <a:gd name="T56" fmla="*/ 546 w 1922"/>
                <a:gd name="T57" fmla="*/ 289 h 1419"/>
                <a:gd name="T58" fmla="*/ 451 w 1922"/>
                <a:gd name="T59" fmla="*/ 312 h 1419"/>
                <a:gd name="T60" fmla="*/ 353 w 1922"/>
                <a:gd name="T61" fmla="*/ 324 h 1419"/>
                <a:gd name="T62" fmla="*/ 301 w 1922"/>
                <a:gd name="T63" fmla="*/ 325 h 1419"/>
                <a:gd name="T64" fmla="*/ 298 w 1922"/>
                <a:gd name="T65" fmla="*/ 324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22" h="1419">
                  <a:moveTo>
                    <a:pt x="298" y="324"/>
                  </a:moveTo>
                  <a:lnTo>
                    <a:pt x="0" y="875"/>
                  </a:lnTo>
                  <a:lnTo>
                    <a:pt x="298" y="1419"/>
                  </a:lnTo>
                  <a:lnTo>
                    <a:pt x="301" y="1419"/>
                  </a:lnTo>
                  <a:lnTo>
                    <a:pt x="364" y="1418"/>
                  </a:lnTo>
                  <a:lnTo>
                    <a:pt x="490" y="1410"/>
                  </a:lnTo>
                  <a:lnTo>
                    <a:pt x="612" y="1394"/>
                  </a:lnTo>
                  <a:lnTo>
                    <a:pt x="732" y="1371"/>
                  </a:lnTo>
                  <a:lnTo>
                    <a:pt x="849" y="1341"/>
                  </a:lnTo>
                  <a:lnTo>
                    <a:pt x="964" y="1304"/>
                  </a:lnTo>
                  <a:lnTo>
                    <a:pt x="1075" y="1260"/>
                  </a:lnTo>
                  <a:lnTo>
                    <a:pt x="1182" y="1209"/>
                  </a:lnTo>
                  <a:lnTo>
                    <a:pt x="1287" y="1152"/>
                  </a:lnTo>
                  <a:lnTo>
                    <a:pt x="1387" y="1088"/>
                  </a:lnTo>
                  <a:lnTo>
                    <a:pt x="1482" y="1020"/>
                  </a:lnTo>
                  <a:lnTo>
                    <a:pt x="1574" y="946"/>
                  </a:lnTo>
                  <a:lnTo>
                    <a:pt x="1660" y="866"/>
                  </a:lnTo>
                  <a:lnTo>
                    <a:pt x="1742" y="781"/>
                  </a:lnTo>
                  <a:lnTo>
                    <a:pt x="1819" y="692"/>
                  </a:lnTo>
                  <a:lnTo>
                    <a:pt x="1889" y="597"/>
                  </a:lnTo>
                  <a:lnTo>
                    <a:pt x="1922" y="549"/>
                  </a:lnTo>
                  <a:lnTo>
                    <a:pt x="1298" y="535"/>
                  </a:lnTo>
                  <a:lnTo>
                    <a:pt x="970" y="0"/>
                  </a:lnTo>
                  <a:lnTo>
                    <a:pt x="940" y="36"/>
                  </a:lnTo>
                  <a:lnTo>
                    <a:pt x="874" y="103"/>
                  </a:lnTo>
                  <a:lnTo>
                    <a:pt x="800" y="163"/>
                  </a:lnTo>
                  <a:lnTo>
                    <a:pt x="721" y="214"/>
                  </a:lnTo>
                  <a:lnTo>
                    <a:pt x="635" y="256"/>
                  </a:lnTo>
                  <a:lnTo>
                    <a:pt x="546" y="289"/>
                  </a:lnTo>
                  <a:lnTo>
                    <a:pt x="451" y="312"/>
                  </a:lnTo>
                  <a:lnTo>
                    <a:pt x="353" y="324"/>
                  </a:lnTo>
                  <a:lnTo>
                    <a:pt x="301" y="325"/>
                  </a:lnTo>
                  <a:lnTo>
                    <a:pt x="298" y="32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400" b="1">
                <a:solidFill>
                  <a:schemeClr val="bg1"/>
                </a:solidFill>
              </a:endParaRPr>
            </a:p>
          </p:txBody>
        </p:sp>
        <p:sp>
          <p:nvSpPr>
            <p:cNvPr id="5" name="Freeform 27">
              <a:extLst>
                <a:ext uri="{FF2B5EF4-FFF2-40B4-BE49-F238E27FC236}">
                  <a16:creationId xmlns:a16="http://schemas.microsoft.com/office/drawing/2014/main" id="{9D166340-7187-B609-B418-B67D17FDB6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8583" y="2551537"/>
              <a:ext cx="1490372" cy="2267529"/>
            </a:xfrm>
            <a:custGeom>
              <a:avLst/>
              <a:gdLst>
                <a:gd name="T0" fmla="*/ 1002 w 1209"/>
                <a:gd name="T1" fmla="*/ 0 h 1842"/>
                <a:gd name="T2" fmla="*/ 678 w 1209"/>
                <a:gd name="T3" fmla="*/ 534 h 1842"/>
                <a:gd name="T4" fmla="*/ 52 w 1209"/>
                <a:gd name="T5" fmla="*/ 551 h 1842"/>
                <a:gd name="T6" fmla="*/ 66 w 1209"/>
                <a:gd name="T7" fmla="*/ 588 h 1842"/>
                <a:gd name="T8" fmla="*/ 89 w 1209"/>
                <a:gd name="T9" fmla="*/ 667 h 1842"/>
                <a:gd name="T10" fmla="*/ 106 w 1209"/>
                <a:gd name="T11" fmla="*/ 748 h 1842"/>
                <a:gd name="T12" fmla="*/ 114 w 1209"/>
                <a:gd name="T13" fmla="*/ 832 h 1842"/>
                <a:gd name="T14" fmla="*/ 115 w 1209"/>
                <a:gd name="T15" fmla="*/ 875 h 1842"/>
                <a:gd name="T16" fmla="*/ 114 w 1209"/>
                <a:gd name="T17" fmla="*/ 933 h 1842"/>
                <a:gd name="T18" fmla="*/ 98 w 1209"/>
                <a:gd name="T19" fmla="*/ 1046 h 1842"/>
                <a:gd name="T20" fmla="*/ 70 w 1209"/>
                <a:gd name="T21" fmla="*/ 1152 h 1842"/>
                <a:gd name="T22" fmla="*/ 27 w 1209"/>
                <a:gd name="T23" fmla="*/ 1255 h 1842"/>
                <a:gd name="T24" fmla="*/ 0 w 1209"/>
                <a:gd name="T25" fmla="*/ 1301 h 1842"/>
                <a:gd name="T26" fmla="*/ 324 w 1209"/>
                <a:gd name="T27" fmla="*/ 1829 h 1842"/>
                <a:gd name="T28" fmla="*/ 952 w 1209"/>
                <a:gd name="T29" fmla="*/ 1842 h 1842"/>
                <a:gd name="T30" fmla="*/ 982 w 1209"/>
                <a:gd name="T31" fmla="*/ 1789 h 1842"/>
                <a:gd name="T32" fmla="*/ 1037 w 1209"/>
                <a:gd name="T33" fmla="*/ 1677 h 1842"/>
                <a:gd name="T34" fmla="*/ 1085 w 1209"/>
                <a:gd name="T35" fmla="*/ 1563 h 1842"/>
                <a:gd name="T36" fmla="*/ 1125 w 1209"/>
                <a:gd name="T37" fmla="*/ 1444 h 1842"/>
                <a:gd name="T38" fmla="*/ 1158 w 1209"/>
                <a:gd name="T39" fmla="*/ 1323 h 1842"/>
                <a:gd name="T40" fmla="*/ 1183 w 1209"/>
                <a:gd name="T41" fmla="*/ 1198 h 1842"/>
                <a:gd name="T42" fmla="*/ 1200 w 1209"/>
                <a:gd name="T43" fmla="*/ 1070 h 1842"/>
                <a:gd name="T44" fmla="*/ 1209 w 1209"/>
                <a:gd name="T45" fmla="*/ 941 h 1842"/>
                <a:gd name="T46" fmla="*/ 1209 w 1209"/>
                <a:gd name="T47" fmla="*/ 875 h 1842"/>
                <a:gd name="T48" fmla="*/ 1209 w 1209"/>
                <a:gd name="T49" fmla="*/ 816 h 1842"/>
                <a:gd name="T50" fmla="*/ 1203 w 1209"/>
                <a:gd name="T51" fmla="*/ 700 h 1842"/>
                <a:gd name="T52" fmla="*/ 1188 w 1209"/>
                <a:gd name="T53" fmla="*/ 586 h 1842"/>
                <a:gd name="T54" fmla="*/ 1169 w 1209"/>
                <a:gd name="T55" fmla="*/ 473 h 1842"/>
                <a:gd name="T56" fmla="*/ 1142 w 1209"/>
                <a:gd name="T57" fmla="*/ 363 h 1842"/>
                <a:gd name="T58" fmla="*/ 1109 w 1209"/>
                <a:gd name="T59" fmla="*/ 257 h 1842"/>
                <a:gd name="T60" fmla="*/ 1070 w 1209"/>
                <a:gd name="T61" fmla="*/ 152 h 1842"/>
                <a:gd name="T62" fmla="*/ 1026 w 1209"/>
                <a:gd name="T63" fmla="*/ 49 h 1842"/>
                <a:gd name="T64" fmla="*/ 1002 w 1209"/>
                <a:gd name="T65" fmla="*/ 0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09" h="1842">
                  <a:moveTo>
                    <a:pt x="1002" y="0"/>
                  </a:moveTo>
                  <a:lnTo>
                    <a:pt x="678" y="534"/>
                  </a:lnTo>
                  <a:lnTo>
                    <a:pt x="52" y="551"/>
                  </a:lnTo>
                  <a:lnTo>
                    <a:pt x="66" y="588"/>
                  </a:lnTo>
                  <a:lnTo>
                    <a:pt x="89" y="667"/>
                  </a:lnTo>
                  <a:lnTo>
                    <a:pt x="106" y="748"/>
                  </a:lnTo>
                  <a:lnTo>
                    <a:pt x="114" y="832"/>
                  </a:lnTo>
                  <a:lnTo>
                    <a:pt x="115" y="875"/>
                  </a:lnTo>
                  <a:lnTo>
                    <a:pt x="114" y="933"/>
                  </a:lnTo>
                  <a:lnTo>
                    <a:pt x="98" y="1046"/>
                  </a:lnTo>
                  <a:lnTo>
                    <a:pt x="70" y="1152"/>
                  </a:lnTo>
                  <a:lnTo>
                    <a:pt x="27" y="1255"/>
                  </a:lnTo>
                  <a:lnTo>
                    <a:pt x="0" y="1301"/>
                  </a:lnTo>
                  <a:lnTo>
                    <a:pt x="324" y="1829"/>
                  </a:lnTo>
                  <a:lnTo>
                    <a:pt x="952" y="1842"/>
                  </a:lnTo>
                  <a:lnTo>
                    <a:pt x="982" y="1789"/>
                  </a:lnTo>
                  <a:lnTo>
                    <a:pt x="1037" y="1677"/>
                  </a:lnTo>
                  <a:lnTo>
                    <a:pt x="1085" y="1563"/>
                  </a:lnTo>
                  <a:lnTo>
                    <a:pt x="1125" y="1444"/>
                  </a:lnTo>
                  <a:lnTo>
                    <a:pt x="1158" y="1323"/>
                  </a:lnTo>
                  <a:lnTo>
                    <a:pt x="1183" y="1198"/>
                  </a:lnTo>
                  <a:lnTo>
                    <a:pt x="1200" y="1070"/>
                  </a:lnTo>
                  <a:lnTo>
                    <a:pt x="1209" y="941"/>
                  </a:lnTo>
                  <a:lnTo>
                    <a:pt x="1209" y="875"/>
                  </a:lnTo>
                  <a:lnTo>
                    <a:pt x="1209" y="816"/>
                  </a:lnTo>
                  <a:lnTo>
                    <a:pt x="1203" y="700"/>
                  </a:lnTo>
                  <a:lnTo>
                    <a:pt x="1188" y="586"/>
                  </a:lnTo>
                  <a:lnTo>
                    <a:pt x="1169" y="473"/>
                  </a:lnTo>
                  <a:lnTo>
                    <a:pt x="1142" y="363"/>
                  </a:lnTo>
                  <a:lnTo>
                    <a:pt x="1109" y="257"/>
                  </a:lnTo>
                  <a:lnTo>
                    <a:pt x="1070" y="152"/>
                  </a:lnTo>
                  <a:lnTo>
                    <a:pt x="1026" y="49"/>
                  </a:lnTo>
                  <a:lnTo>
                    <a:pt x="1002" y="0"/>
                  </a:lnTo>
                  <a:close/>
                </a:path>
              </a:pathLst>
            </a:custGeom>
            <a:solidFill>
              <a:srgbClr val="3FBE80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400" b="1">
                <a:solidFill>
                  <a:schemeClr val="bg1"/>
                </a:solidFill>
              </a:endParaRPr>
            </a:p>
          </p:txBody>
        </p:sp>
        <p:sp>
          <p:nvSpPr>
            <p:cNvPr id="21" name="Freeform 30">
              <a:extLst>
                <a:ext uri="{FF2B5EF4-FFF2-40B4-BE49-F238E27FC236}">
                  <a16:creationId xmlns:a16="http://schemas.microsoft.com/office/drawing/2014/main" id="{9B4578E7-222A-36D3-5C66-96A57C9F1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6343" y="1243159"/>
              <a:ext cx="1933056" cy="1854357"/>
            </a:xfrm>
            <a:custGeom>
              <a:avLst/>
              <a:gdLst>
                <a:gd name="T0" fmla="*/ 6 w 1572"/>
                <a:gd name="T1" fmla="*/ 0 h 1511"/>
                <a:gd name="T2" fmla="*/ 303 w 1572"/>
                <a:gd name="T3" fmla="*/ 541 h 1511"/>
                <a:gd name="T4" fmla="*/ 0 w 1572"/>
                <a:gd name="T5" fmla="*/ 1099 h 1511"/>
                <a:gd name="T6" fmla="*/ 50 w 1572"/>
                <a:gd name="T7" fmla="*/ 1106 h 1511"/>
                <a:gd name="T8" fmla="*/ 146 w 1572"/>
                <a:gd name="T9" fmla="*/ 1129 h 1511"/>
                <a:gd name="T10" fmla="*/ 238 w 1572"/>
                <a:gd name="T11" fmla="*/ 1164 h 1511"/>
                <a:gd name="T12" fmla="*/ 325 w 1572"/>
                <a:gd name="T13" fmla="*/ 1208 h 1511"/>
                <a:gd name="T14" fmla="*/ 406 w 1572"/>
                <a:gd name="T15" fmla="*/ 1261 h 1511"/>
                <a:gd name="T16" fmla="*/ 478 w 1572"/>
                <a:gd name="T17" fmla="*/ 1324 h 1511"/>
                <a:gd name="T18" fmla="*/ 544 w 1572"/>
                <a:gd name="T19" fmla="*/ 1394 h 1511"/>
                <a:gd name="T20" fmla="*/ 603 w 1572"/>
                <a:gd name="T21" fmla="*/ 1470 h 1511"/>
                <a:gd name="T22" fmla="*/ 628 w 1572"/>
                <a:gd name="T23" fmla="*/ 1511 h 1511"/>
                <a:gd name="T24" fmla="*/ 1245 w 1572"/>
                <a:gd name="T25" fmla="*/ 1495 h 1511"/>
                <a:gd name="T26" fmla="*/ 1572 w 1572"/>
                <a:gd name="T27" fmla="*/ 958 h 1511"/>
                <a:gd name="T28" fmla="*/ 1542 w 1572"/>
                <a:gd name="T29" fmla="*/ 906 h 1511"/>
                <a:gd name="T30" fmla="*/ 1476 w 1572"/>
                <a:gd name="T31" fmla="*/ 809 h 1511"/>
                <a:gd name="T32" fmla="*/ 1404 w 1572"/>
                <a:gd name="T33" fmla="*/ 716 h 1511"/>
                <a:gd name="T34" fmla="*/ 1327 w 1572"/>
                <a:gd name="T35" fmla="*/ 626 h 1511"/>
                <a:gd name="T36" fmla="*/ 1245 w 1572"/>
                <a:gd name="T37" fmla="*/ 542 h 1511"/>
                <a:gd name="T38" fmla="*/ 1157 w 1572"/>
                <a:gd name="T39" fmla="*/ 463 h 1511"/>
                <a:gd name="T40" fmla="*/ 1065 w 1572"/>
                <a:gd name="T41" fmla="*/ 389 h 1511"/>
                <a:gd name="T42" fmla="*/ 969 w 1572"/>
                <a:gd name="T43" fmla="*/ 320 h 1511"/>
                <a:gd name="T44" fmla="*/ 870 w 1572"/>
                <a:gd name="T45" fmla="*/ 258 h 1511"/>
                <a:gd name="T46" fmla="*/ 765 w 1572"/>
                <a:gd name="T47" fmla="*/ 202 h 1511"/>
                <a:gd name="T48" fmla="*/ 657 w 1572"/>
                <a:gd name="T49" fmla="*/ 152 h 1511"/>
                <a:gd name="T50" fmla="*/ 544 w 1572"/>
                <a:gd name="T51" fmla="*/ 109 h 1511"/>
                <a:gd name="T52" fmla="*/ 430 w 1572"/>
                <a:gd name="T53" fmla="*/ 71 h 1511"/>
                <a:gd name="T54" fmla="*/ 312 w 1572"/>
                <a:gd name="T55" fmla="*/ 42 h 1511"/>
                <a:gd name="T56" fmla="*/ 192 w 1572"/>
                <a:gd name="T57" fmla="*/ 20 h 1511"/>
                <a:gd name="T58" fmla="*/ 69 w 1572"/>
                <a:gd name="T59" fmla="*/ 5 h 1511"/>
                <a:gd name="T60" fmla="*/ 6 w 1572"/>
                <a:gd name="T61" fmla="*/ 0 h 1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72" h="1511">
                  <a:moveTo>
                    <a:pt x="6" y="0"/>
                  </a:moveTo>
                  <a:lnTo>
                    <a:pt x="303" y="541"/>
                  </a:lnTo>
                  <a:lnTo>
                    <a:pt x="0" y="1099"/>
                  </a:lnTo>
                  <a:lnTo>
                    <a:pt x="50" y="1106"/>
                  </a:lnTo>
                  <a:lnTo>
                    <a:pt x="146" y="1129"/>
                  </a:lnTo>
                  <a:lnTo>
                    <a:pt x="238" y="1164"/>
                  </a:lnTo>
                  <a:lnTo>
                    <a:pt x="325" y="1208"/>
                  </a:lnTo>
                  <a:lnTo>
                    <a:pt x="406" y="1261"/>
                  </a:lnTo>
                  <a:lnTo>
                    <a:pt x="478" y="1324"/>
                  </a:lnTo>
                  <a:lnTo>
                    <a:pt x="544" y="1394"/>
                  </a:lnTo>
                  <a:lnTo>
                    <a:pt x="603" y="1470"/>
                  </a:lnTo>
                  <a:lnTo>
                    <a:pt x="628" y="1511"/>
                  </a:lnTo>
                  <a:lnTo>
                    <a:pt x="1245" y="1495"/>
                  </a:lnTo>
                  <a:lnTo>
                    <a:pt x="1572" y="958"/>
                  </a:lnTo>
                  <a:lnTo>
                    <a:pt x="1542" y="906"/>
                  </a:lnTo>
                  <a:lnTo>
                    <a:pt x="1476" y="809"/>
                  </a:lnTo>
                  <a:lnTo>
                    <a:pt x="1404" y="716"/>
                  </a:lnTo>
                  <a:lnTo>
                    <a:pt x="1327" y="626"/>
                  </a:lnTo>
                  <a:lnTo>
                    <a:pt x="1245" y="542"/>
                  </a:lnTo>
                  <a:lnTo>
                    <a:pt x="1157" y="463"/>
                  </a:lnTo>
                  <a:lnTo>
                    <a:pt x="1065" y="389"/>
                  </a:lnTo>
                  <a:lnTo>
                    <a:pt x="969" y="320"/>
                  </a:lnTo>
                  <a:lnTo>
                    <a:pt x="870" y="258"/>
                  </a:lnTo>
                  <a:lnTo>
                    <a:pt x="765" y="202"/>
                  </a:lnTo>
                  <a:lnTo>
                    <a:pt x="657" y="152"/>
                  </a:lnTo>
                  <a:lnTo>
                    <a:pt x="544" y="109"/>
                  </a:lnTo>
                  <a:lnTo>
                    <a:pt x="430" y="71"/>
                  </a:lnTo>
                  <a:lnTo>
                    <a:pt x="312" y="42"/>
                  </a:lnTo>
                  <a:lnTo>
                    <a:pt x="192" y="20"/>
                  </a:lnTo>
                  <a:lnTo>
                    <a:pt x="69" y="5"/>
                  </a:lnTo>
                  <a:lnTo>
                    <a:pt x="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400" b="1">
                <a:solidFill>
                  <a:schemeClr val="bg1"/>
                </a:solidFill>
              </a:endParaRPr>
            </a:p>
          </p:txBody>
        </p:sp>
        <p:sp>
          <p:nvSpPr>
            <p:cNvPr id="22" name="Freeform 1164">
              <a:extLst>
                <a:ext uri="{FF2B5EF4-FFF2-40B4-BE49-F238E27FC236}">
                  <a16:creationId xmlns:a16="http://schemas.microsoft.com/office/drawing/2014/main" id="{62E468AB-3B08-05F1-E003-A94DC27D46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6346" y="1243159"/>
              <a:ext cx="1933056" cy="1854357"/>
            </a:xfrm>
            <a:custGeom>
              <a:avLst/>
              <a:gdLst>
                <a:gd name="T0" fmla="*/ 0 w 1572"/>
                <a:gd name="T1" fmla="*/ 1099 h 1511"/>
                <a:gd name="T2" fmla="*/ 50 w 1572"/>
                <a:gd name="T3" fmla="*/ 1106 h 1511"/>
                <a:gd name="T4" fmla="*/ 146 w 1572"/>
                <a:gd name="T5" fmla="*/ 1129 h 1511"/>
                <a:gd name="T6" fmla="*/ 238 w 1572"/>
                <a:gd name="T7" fmla="*/ 1164 h 1511"/>
                <a:gd name="T8" fmla="*/ 325 w 1572"/>
                <a:gd name="T9" fmla="*/ 1208 h 1511"/>
                <a:gd name="T10" fmla="*/ 406 w 1572"/>
                <a:gd name="T11" fmla="*/ 1261 h 1511"/>
                <a:gd name="T12" fmla="*/ 478 w 1572"/>
                <a:gd name="T13" fmla="*/ 1324 h 1511"/>
                <a:gd name="T14" fmla="*/ 544 w 1572"/>
                <a:gd name="T15" fmla="*/ 1394 h 1511"/>
                <a:gd name="T16" fmla="*/ 603 w 1572"/>
                <a:gd name="T17" fmla="*/ 1470 h 1511"/>
                <a:gd name="T18" fmla="*/ 628 w 1572"/>
                <a:gd name="T19" fmla="*/ 1511 h 1511"/>
                <a:gd name="T20" fmla="*/ 1245 w 1572"/>
                <a:gd name="T21" fmla="*/ 1495 h 1511"/>
                <a:gd name="T22" fmla="*/ 1572 w 1572"/>
                <a:gd name="T23" fmla="*/ 958 h 1511"/>
                <a:gd name="T24" fmla="*/ 1542 w 1572"/>
                <a:gd name="T25" fmla="*/ 906 h 1511"/>
                <a:gd name="T26" fmla="*/ 1476 w 1572"/>
                <a:gd name="T27" fmla="*/ 809 h 1511"/>
                <a:gd name="T28" fmla="*/ 1404 w 1572"/>
                <a:gd name="T29" fmla="*/ 716 h 1511"/>
                <a:gd name="T30" fmla="*/ 1327 w 1572"/>
                <a:gd name="T31" fmla="*/ 626 h 1511"/>
                <a:gd name="T32" fmla="*/ 1245 w 1572"/>
                <a:gd name="T33" fmla="*/ 542 h 1511"/>
                <a:gd name="T34" fmla="*/ 1157 w 1572"/>
                <a:gd name="T35" fmla="*/ 463 h 1511"/>
                <a:gd name="T36" fmla="*/ 1065 w 1572"/>
                <a:gd name="T37" fmla="*/ 389 h 1511"/>
                <a:gd name="T38" fmla="*/ 969 w 1572"/>
                <a:gd name="T39" fmla="*/ 320 h 1511"/>
                <a:gd name="T40" fmla="*/ 870 w 1572"/>
                <a:gd name="T41" fmla="*/ 258 h 1511"/>
                <a:gd name="T42" fmla="*/ 765 w 1572"/>
                <a:gd name="T43" fmla="*/ 202 h 1511"/>
                <a:gd name="T44" fmla="*/ 657 w 1572"/>
                <a:gd name="T45" fmla="*/ 152 h 1511"/>
                <a:gd name="T46" fmla="*/ 544 w 1572"/>
                <a:gd name="T47" fmla="*/ 109 h 1511"/>
                <a:gd name="T48" fmla="*/ 430 w 1572"/>
                <a:gd name="T49" fmla="*/ 71 h 1511"/>
                <a:gd name="T50" fmla="*/ 312 w 1572"/>
                <a:gd name="T51" fmla="*/ 42 h 1511"/>
                <a:gd name="T52" fmla="*/ 192 w 1572"/>
                <a:gd name="T53" fmla="*/ 20 h 1511"/>
                <a:gd name="T54" fmla="*/ 69 w 1572"/>
                <a:gd name="T55" fmla="*/ 5 h 1511"/>
                <a:gd name="T56" fmla="*/ 6 w 1572"/>
                <a:gd name="T57" fmla="*/ 0 h 1511"/>
                <a:gd name="T58" fmla="*/ 303 w 1572"/>
                <a:gd name="T59" fmla="*/ 541 h 1511"/>
                <a:gd name="T60" fmla="*/ 0 w 1572"/>
                <a:gd name="T61" fmla="*/ 1099 h 1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72" h="1511">
                  <a:moveTo>
                    <a:pt x="0" y="1099"/>
                  </a:moveTo>
                  <a:lnTo>
                    <a:pt x="50" y="1106"/>
                  </a:lnTo>
                  <a:lnTo>
                    <a:pt x="146" y="1129"/>
                  </a:lnTo>
                  <a:lnTo>
                    <a:pt x="238" y="1164"/>
                  </a:lnTo>
                  <a:lnTo>
                    <a:pt x="325" y="1208"/>
                  </a:lnTo>
                  <a:lnTo>
                    <a:pt x="406" y="1261"/>
                  </a:lnTo>
                  <a:lnTo>
                    <a:pt x="478" y="1324"/>
                  </a:lnTo>
                  <a:lnTo>
                    <a:pt x="544" y="1394"/>
                  </a:lnTo>
                  <a:lnTo>
                    <a:pt x="603" y="1470"/>
                  </a:lnTo>
                  <a:lnTo>
                    <a:pt x="628" y="1511"/>
                  </a:lnTo>
                  <a:lnTo>
                    <a:pt x="1245" y="1495"/>
                  </a:lnTo>
                  <a:lnTo>
                    <a:pt x="1572" y="958"/>
                  </a:lnTo>
                  <a:lnTo>
                    <a:pt x="1542" y="906"/>
                  </a:lnTo>
                  <a:lnTo>
                    <a:pt x="1476" y="809"/>
                  </a:lnTo>
                  <a:lnTo>
                    <a:pt x="1404" y="716"/>
                  </a:lnTo>
                  <a:lnTo>
                    <a:pt x="1327" y="626"/>
                  </a:lnTo>
                  <a:lnTo>
                    <a:pt x="1245" y="542"/>
                  </a:lnTo>
                  <a:lnTo>
                    <a:pt x="1157" y="463"/>
                  </a:lnTo>
                  <a:lnTo>
                    <a:pt x="1065" y="389"/>
                  </a:lnTo>
                  <a:lnTo>
                    <a:pt x="969" y="320"/>
                  </a:lnTo>
                  <a:lnTo>
                    <a:pt x="870" y="258"/>
                  </a:lnTo>
                  <a:lnTo>
                    <a:pt x="765" y="202"/>
                  </a:lnTo>
                  <a:lnTo>
                    <a:pt x="657" y="152"/>
                  </a:lnTo>
                  <a:lnTo>
                    <a:pt x="544" y="109"/>
                  </a:lnTo>
                  <a:lnTo>
                    <a:pt x="430" y="71"/>
                  </a:lnTo>
                  <a:lnTo>
                    <a:pt x="312" y="42"/>
                  </a:lnTo>
                  <a:lnTo>
                    <a:pt x="192" y="20"/>
                  </a:lnTo>
                  <a:lnTo>
                    <a:pt x="69" y="5"/>
                  </a:lnTo>
                  <a:lnTo>
                    <a:pt x="6" y="0"/>
                  </a:lnTo>
                  <a:lnTo>
                    <a:pt x="303" y="541"/>
                  </a:lnTo>
                  <a:lnTo>
                    <a:pt x="0" y="1099"/>
                  </a:lnTo>
                  <a:close/>
                </a:path>
              </a:pathLst>
            </a:custGeom>
            <a:solidFill>
              <a:srgbClr val="3FBE80">
                <a:alpha val="2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400" b="1">
                <a:solidFill>
                  <a:schemeClr val="bg1"/>
                </a:solidFill>
              </a:endParaRPr>
            </a:p>
          </p:txBody>
        </p:sp>
        <p:sp>
          <p:nvSpPr>
            <p:cNvPr id="24" name="Freeform 1166">
              <a:extLst>
                <a:ext uri="{FF2B5EF4-FFF2-40B4-BE49-F238E27FC236}">
                  <a16:creationId xmlns:a16="http://schemas.microsoft.com/office/drawing/2014/main" id="{D4EAA924-BF71-21C0-B4F5-CEE614B42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1461" y="1238239"/>
              <a:ext cx="2346228" cy="1760900"/>
            </a:xfrm>
            <a:custGeom>
              <a:avLst/>
              <a:gdLst>
                <a:gd name="T0" fmla="*/ 943 w 1905"/>
                <a:gd name="T1" fmla="*/ 1432 h 1432"/>
                <a:gd name="T2" fmla="*/ 972 w 1905"/>
                <a:gd name="T3" fmla="*/ 1394 h 1432"/>
                <a:gd name="T4" fmla="*/ 1037 w 1905"/>
                <a:gd name="T5" fmla="*/ 1326 h 1432"/>
                <a:gd name="T6" fmla="*/ 1109 w 1905"/>
                <a:gd name="T7" fmla="*/ 1265 h 1432"/>
                <a:gd name="T8" fmla="*/ 1188 w 1905"/>
                <a:gd name="T9" fmla="*/ 1211 h 1432"/>
                <a:gd name="T10" fmla="*/ 1272 w 1905"/>
                <a:gd name="T11" fmla="*/ 1167 h 1432"/>
                <a:gd name="T12" fmla="*/ 1362 w 1905"/>
                <a:gd name="T13" fmla="*/ 1134 h 1432"/>
                <a:gd name="T14" fmla="*/ 1457 w 1905"/>
                <a:gd name="T15" fmla="*/ 1109 h 1432"/>
                <a:gd name="T16" fmla="*/ 1555 w 1905"/>
                <a:gd name="T17" fmla="*/ 1096 h 1432"/>
                <a:gd name="T18" fmla="*/ 1606 w 1905"/>
                <a:gd name="T19" fmla="*/ 1095 h 1432"/>
                <a:gd name="T20" fmla="*/ 1905 w 1905"/>
                <a:gd name="T21" fmla="*/ 544 h 1432"/>
                <a:gd name="T22" fmla="*/ 1607 w 1905"/>
                <a:gd name="T23" fmla="*/ 0 h 1432"/>
                <a:gd name="T24" fmla="*/ 1543 w 1905"/>
                <a:gd name="T25" fmla="*/ 1 h 1432"/>
                <a:gd name="T26" fmla="*/ 1420 w 1905"/>
                <a:gd name="T27" fmla="*/ 10 h 1432"/>
                <a:gd name="T28" fmla="*/ 1298 w 1905"/>
                <a:gd name="T29" fmla="*/ 26 h 1432"/>
                <a:gd name="T30" fmla="*/ 1179 w 1905"/>
                <a:gd name="T31" fmla="*/ 50 h 1432"/>
                <a:gd name="T32" fmla="*/ 1062 w 1905"/>
                <a:gd name="T33" fmla="*/ 80 h 1432"/>
                <a:gd name="T34" fmla="*/ 950 w 1905"/>
                <a:gd name="T35" fmla="*/ 119 h 1432"/>
                <a:gd name="T36" fmla="*/ 840 w 1905"/>
                <a:gd name="T37" fmla="*/ 163 h 1432"/>
                <a:gd name="T38" fmla="*/ 733 w 1905"/>
                <a:gd name="T39" fmla="*/ 213 h 1432"/>
                <a:gd name="T40" fmla="*/ 630 w 1905"/>
                <a:gd name="T41" fmla="*/ 270 h 1432"/>
                <a:gd name="T42" fmla="*/ 531 w 1905"/>
                <a:gd name="T43" fmla="*/ 333 h 1432"/>
                <a:gd name="T44" fmla="*/ 436 w 1905"/>
                <a:gd name="T45" fmla="*/ 401 h 1432"/>
                <a:gd name="T46" fmla="*/ 346 w 1905"/>
                <a:gd name="T47" fmla="*/ 475 h 1432"/>
                <a:gd name="T48" fmla="*/ 260 w 1905"/>
                <a:gd name="T49" fmla="*/ 556 h 1432"/>
                <a:gd name="T50" fmla="*/ 179 w 1905"/>
                <a:gd name="T51" fmla="*/ 639 h 1432"/>
                <a:gd name="T52" fmla="*/ 103 w 1905"/>
                <a:gd name="T53" fmla="*/ 728 h 1432"/>
                <a:gd name="T54" fmla="*/ 32 w 1905"/>
                <a:gd name="T55" fmla="*/ 821 h 1432"/>
                <a:gd name="T56" fmla="*/ 0 w 1905"/>
                <a:gd name="T57" fmla="*/ 871 h 1432"/>
                <a:gd name="T58" fmla="*/ 606 w 1905"/>
                <a:gd name="T59" fmla="*/ 884 h 1432"/>
                <a:gd name="T60" fmla="*/ 943 w 1905"/>
                <a:gd name="T61" fmla="*/ 1432 h 1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905" h="1432">
                  <a:moveTo>
                    <a:pt x="943" y="1432"/>
                  </a:moveTo>
                  <a:lnTo>
                    <a:pt x="972" y="1394"/>
                  </a:lnTo>
                  <a:lnTo>
                    <a:pt x="1037" y="1326"/>
                  </a:lnTo>
                  <a:lnTo>
                    <a:pt x="1109" y="1265"/>
                  </a:lnTo>
                  <a:lnTo>
                    <a:pt x="1188" y="1211"/>
                  </a:lnTo>
                  <a:lnTo>
                    <a:pt x="1272" y="1167"/>
                  </a:lnTo>
                  <a:lnTo>
                    <a:pt x="1362" y="1134"/>
                  </a:lnTo>
                  <a:lnTo>
                    <a:pt x="1457" y="1109"/>
                  </a:lnTo>
                  <a:lnTo>
                    <a:pt x="1555" y="1096"/>
                  </a:lnTo>
                  <a:lnTo>
                    <a:pt x="1606" y="1095"/>
                  </a:lnTo>
                  <a:lnTo>
                    <a:pt x="1905" y="544"/>
                  </a:lnTo>
                  <a:lnTo>
                    <a:pt x="1607" y="0"/>
                  </a:lnTo>
                  <a:lnTo>
                    <a:pt x="1543" y="1"/>
                  </a:lnTo>
                  <a:lnTo>
                    <a:pt x="1420" y="10"/>
                  </a:lnTo>
                  <a:lnTo>
                    <a:pt x="1298" y="26"/>
                  </a:lnTo>
                  <a:lnTo>
                    <a:pt x="1179" y="50"/>
                  </a:lnTo>
                  <a:lnTo>
                    <a:pt x="1062" y="80"/>
                  </a:lnTo>
                  <a:lnTo>
                    <a:pt x="950" y="119"/>
                  </a:lnTo>
                  <a:lnTo>
                    <a:pt x="840" y="163"/>
                  </a:lnTo>
                  <a:lnTo>
                    <a:pt x="733" y="213"/>
                  </a:lnTo>
                  <a:lnTo>
                    <a:pt x="630" y="270"/>
                  </a:lnTo>
                  <a:lnTo>
                    <a:pt x="531" y="333"/>
                  </a:lnTo>
                  <a:lnTo>
                    <a:pt x="436" y="401"/>
                  </a:lnTo>
                  <a:lnTo>
                    <a:pt x="346" y="475"/>
                  </a:lnTo>
                  <a:lnTo>
                    <a:pt x="260" y="556"/>
                  </a:lnTo>
                  <a:lnTo>
                    <a:pt x="179" y="639"/>
                  </a:lnTo>
                  <a:lnTo>
                    <a:pt x="103" y="728"/>
                  </a:lnTo>
                  <a:lnTo>
                    <a:pt x="32" y="821"/>
                  </a:lnTo>
                  <a:lnTo>
                    <a:pt x="0" y="871"/>
                  </a:lnTo>
                  <a:lnTo>
                    <a:pt x="606" y="884"/>
                  </a:lnTo>
                  <a:lnTo>
                    <a:pt x="943" y="1432"/>
                  </a:lnTo>
                  <a:close/>
                </a:path>
              </a:pathLst>
            </a:custGeom>
            <a:solidFill>
              <a:srgbClr val="3FBE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48640" tIns="45720" rIns="91440" bIns="45720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400" b="1"/>
            </a:p>
          </p:txBody>
        </p:sp>
        <p:sp>
          <p:nvSpPr>
            <p:cNvPr id="25" name="Freeform 1167">
              <a:extLst>
                <a:ext uri="{FF2B5EF4-FFF2-40B4-BE49-F238E27FC236}">
                  <a16:creationId xmlns:a16="http://schemas.microsoft.com/office/drawing/2014/main" id="{9ED5B4C6-F154-8EBE-AAF6-2B45C71EA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3044" y="2438405"/>
              <a:ext cx="1480535" cy="2247854"/>
            </a:xfrm>
            <a:custGeom>
              <a:avLst/>
              <a:gdLst>
                <a:gd name="T0" fmla="*/ 1158 w 1201"/>
                <a:gd name="T1" fmla="*/ 1290 h 1826"/>
                <a:gd name="T2" fmla="*/ 1144 w 1201"/>
                <a:gd name="T3" fmla="*/ 1252 h 1826"/>
                <a:gd name="T4" fmla="*/ 1119 w 1201"/>
                <a:gd name="T5" fmla="*/ 1174 h 1826"/>
                <a:gd name="T6" fmla="*/ 1104 w 1201"/>
                <a:gd name="T7" fmla="*/ 1093 h 1826"/>
                <a:gd name="T8" fmla="*/ 1095 w 1201"/>
                <a:gd name="T9" fmla="*/ 1010 h 1826"/>
                <a:gd name="T10" fmla="*/ 1095 w 1201"/>
                <a:gd name="T11" fmla="*/ 967 h 1826"/>
                <a:gd name="T12" fmla="*/ 1096 w 1201"/>
                <a:gd name="T13" fmla="*/ 911 h 1826"/>
                <a:gd name="T14" fmla="*/ 1110 w 1201"/>
                <a:gd name="T15" fmla="*/ 802 h 1826"/>
                <a:gd name="T16" fmla="*/ 1138 w 1201"/>
                <a:gd name="T17" fmla="*/ 698 h 1826"/>
                <a:gd name="T18" fmla="*/ 1177 w 1201"/>
                <a:gd name="T19" fmla="*/ 601 h 1826"/>
                <a:gd name="T20" fmla="*/ 1201 w 1201"/>
                <a:gd name="T21" fmla="*/ 555 h 1826"/>
                <a:gd name="T22" fmla="*/ 869 w 1201"/>
                <a:gd name="T23" fmla="*/ 13 h 1826"/>
                <a:gd name="T24" fmla="*/ 258 w 1201"/>
                <a:gd name="T25" fmla="*/ 0 h 1826"/>
                <a:gd name="T26" fmla="*/ 228 w 1201"/>
                <a:gd name="T27" fmla="*/ 53 h 1826"/>
                <a:gd name="T28" fmla="*/ 173 w 1201"/>
                <a:gd name="T29" fmla="*/ 164 h 1826"/>
                <a:gd name="T30" fmla="*/ 125 w 1201"/>
                <a:gd name="T31" fmla="*/ 279 h 1826"/>
                <a:gd name="T32" fmla="*/ 85 w 1201"/>
                <a:gd name="T33" fmla="*/ 398 h 1826"/>
                <a:gd name="T34" fmla="*/ 51 w 1201"/>
                <a:gd name="T35" fmla="*/ 520 h 1826"/>
                <a:gd name="T36" fmla="*/ 27 w 1201"/>
                <a:gd name="T37" fmla="*/ 644 h 1826"/>
                <a:gd name="T38" fmla="*/ 10 w 1201"/>
                <a:gd name="T39" fmla="*/ 771 h 1826"/>
                <a:gd name="T40" fmla="*/ 1 w 1201"/>
                <a:gd name="T41" fmla="*/ 901 h 1826"/>
                <a:gd name="T42" fmla="*/ 0 w 1201"/>
                <a:gd name="T43" fmla="*/ 967 h 1826"/>
                <a:gd name="T44" fmla="*/ 1 w 1201"/>
                <a:gd name="T45" fmla="*/ 1024 h 1826"/>
                <a:gd name="T46" fmla="*/ 7 w 1201"/>
                <a:gd name="T47" fmla="*/ 1138 h 1826"/>
                <a:gd name="T48" fmla="*/ 20 w 1201"/>
                <a:gd name="T49" fmla="*/ 1251 h 1826"/>
                <a:gd name="T50" fmla="*/ 40 w 1201"/>
                <a:gd name="T51" fmla="*/ 1361 h 1826"/>
                <a:gd name="T52" fmla="*/ 66 w 1201"/>
                <a:gd name="T53" fmla="*/ 1468 h 1826"/>
                <a:gd name="T54" fmla="*/ 97 w 1201"/>
                <a:gd name="T55" fmla="*/ 1573 h 1826"/>
                <a:gd name="T56" fmla="*/ 134 w 1201"/>
                <a:gd name="T57" fmla="*/ 1677 h 1826"/>
                <a:gd name="T58" fmla="*/ 176 w 1201"/>
                <a:gd name="T59" fmla="*/ 1777 h 1826"/>
                <a:gd name="T60" fmla="*/ 201 w 1201"/>
                <a:gd name="T61" fmla="*/ 1826 h 1826"/>
                <a:gd name="T62" fmla="*/ 514 w 1201"/>
                <a:gd name="T63" fmla="*/ 1306 h 1826"/>
                <a:gd name="T64" fmla="*/ 1158 w 1201"/>
                <a:gd name="T65" fmla="*/ 1290 h 1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01" h="1826">
                  <a:moveTo>
                    <a:pt x="1158" y="1290"/>
                  </a:moveTo>
                  <a:lnTo>
                    <a:pt x="1144" y="1252"/>
                  </a:lnTo>
                  <a:lnTo>
                    <a:pt x="1119" y="1174"/>
                  </a:lnTo>
                  <a:lnTo>
                    <a:pt x="1104" y="1093"/>
                  </a:lnTo>
                  <a:lnTo>
                    <a:pt x="1095" y="1010"/>
                  </a:lnTo>
                  <a:lnTo>
                    <a:pt x="1095" y="967"/>
                  </a:lnTo>
                  <a:lnTo>
                    <a:pt x="1096" y="911"/>
                  </a:lnTo>
                  <a:lnTo>
                    <a:pt x="1110" y="802"/>
                  </a:lnTo>
                  <a:lnTo>
                    <a:pt x="1138" y="698"/>
                  </a:lnTo>
                  <a:lnTo>
                    <a:pt x="1177" y="601"/>
                  </a:lnTo>
                  <a:lnTo>
                    <a:pt x="1201" y="555"/>
                  </a:lnTo>
                  <a:lnTo>
                    <a:pt x="869" y="13"/>
                  </a:lnTo>
                  <a:lnTo>
                    <a:pt x="258" y="0"/>
                  </a:lnTo>
                  <a:lnTo>
                    <a:pt x="228" y="53"/>
                  </a:lnTo>
                  <a:lnTo>
                    <a:pt x="173" y="164"/>
                  </a:lnTo>
                  <a:lnTo>
                    <a:pt x="125" y="279"/>
                  </a:lnTo>
                  <a:lnTo>
                    <a:pt x="85" y="398"/>
                  </a:lnTo>
                  <a:lnTo>
                    <a:pt x="51" y="520"/>
                  </a:lnTo>
                  <a:lnTo>
                    <a:pt x="27" y="644"/>
                  </a:lnTo>
                  <a:lnTo>
                    <a:pt x="10" y="771"/>
                  </a:lnTo>
                  <a:lnTo>
                    <a:pt x="1" y="901"/>
                  </a:lnTo>
                  <a:lnTo>
                    <a:pt x="0" y="967"/>
                  </a:lnTo>
                  <a:lnTo>
                    <a:pt x="1" y="1024"/>
                  </a:lnTo>
                  <a:lnTo>
                    <a:pt x="7" y="1138"/>
                  </a:lnTo>
                  <a:lnTo>
                    <a:pt x="20" y="1251"/>
                  </a:lnTo>
                  <a:lnTo>
                    <a:pt x="40" y="1361"/>
                  </a:lnTo>
                  <a:lnTo>
                    <a:pt x="66" y="1468"/>
                  </a:lnTo>
                  <a:lnTo>
                    <a:pt x="97" y="1573"/>
                  </a:lnTo>
                  <a:lnTo>
                    <a:pt x="134" y="1677"/>
                  </a:lnTo>
                  <a:lnTo>
                    <a:pt x="176" y="1777"/>
                  </a:lnTo>
                  <a:lnTo>
                    <a:pt x="201" y="1826"/>
                  </a:lnTo>
                  <a:lnTo>
                    <a:pt x="514" y="1306"/>
                  </a:lnTo>
                  <a:lnTo>
                    <a:pt x="1158" y="1290"/>
                  </a:lnTo>
                  <a:close/>
                </a:path>
              </a:pathLst>
            </a:custGeom>
            <a:solidFill>
              <a:srgbClr val="3FBE80">
                <a:alpha val="89804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365760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400" b="1"/>
            </a:p>
          </p:txBody>
        </p:sp>
        <p:sp>
          <p:nvSpPr>
            <p:cNvPr id="26" name="Freeform 1168">
              <a:extLst>
                <a:ext uri="{FF2B5EF4-FFF2-40B4-BE49-F238E27FC236}">
                  <a16:creationId xmlns:a16="http://schemas.microsoft.com/office/drawing/2014/main" id="{B88A3A7B-A9CF-75EB-FBBF-1F68397E1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2762" y="4159956"/>
              <a:ext cx="1923219" cy="1854357"/>
            </a:xfrm>
            <a:custGeom>
              <a:avLst/>
              <a:gdLst>
                <a:gd name="T0" fmla="*/ 1564 w 1564"/>
                <a:gd name="T1" fmla="*/ 411 h 1510"/>
                <a:gd name="T2" fmla="*/ 1516 w 1564"/>
                <a:gd name="T3" fmla="*/ 403 h 1510"/>
                <a:gd name="T4" fmla="*/ 1422 w 1564"/>
                <a:gd name="T5" fmla="*/ 379 h 1510"/>
                <a:gd name="T6" fmla="*/ 1332 w 1564"/>
                <a:gd name="T7" fmla="*/ 344 h 1510"/>
                <a:gd name="T8" fmla="*/ 1248 w 1564"/>
                <a:gd name="T9" fmla="*/ 298 h 1510"/>
                <a:gd name="T10" fmla="*/ 1170 w 1564"/>
                <a:gd name="T11" fmla="*/ 245 h 1510"/>
                <a:gd name="T12" fmla="*/ 1099 w 1564"/>
                <a:gd name="T13" fmla="*/ 184 h 1510"/>
                <a:gd name="T14" fmla="*/ 1034 w 1564"/>
                <a:gd name="T15" fmla="*/ 115 h 1510"/>
                <a:gd name="T16" fmla="*/ 977 w 1564"/>
                <a:gd name="T17" fmla="*/ 40 h 1510"/>
                <a:gd name="T18" fmla="*/ 953 w 1564"/>
                <a:gd name="T19" fmla="*/ 0 h 1510"/>
                <a:gd name="T20" fmla="*/ 317 w 1564"/>
                <a:gd name="T21" fmla="*/ 17 h 1510"/>
                <a:gd name="T22" fmla="*/ 0 w 1564"/>
                <a:gd name="T23" fmla="*/ 539 h 1510"/>
                <a:gd name="T24" fmla="*/ 30 w 1564"/>
                <a:gd name="T25" fmla="*/ 591 h 1510"/>
                <a:gd name="T26" fmla="*/ 96 w 1564"/>
                <a:gd name="T27" fmla="*/ 690 h 1510"/>
                <a:gd name="T28" fmla="*/ 166 w 1564"/>
                <a:gd name="T29" fmla="*/ 783 h 1510"/>
                <a:gd name="T30" fmla="*/ 242 w 1564"/>
                <a:gd name="T31" fmla="*/ 874 h 1510"/>
                <a:gd name="T32" fmla="*/ 324 w 1564"/>
                <a:gd name="T33" fmla="*/ 958 h 1510"/>
                <a:gd name="T34" fmla="*/ 411 w 1564"/>
                <a:gd name="T35" fmla="*/ 1038 h 1510"/>
                <a:gd name="T36" fmla="*/ 501 w 1564"/>
                <a:gd name="T37" fmla="*/ 1112 h 1510"/>
                <a:gd name="T38" fmla="*/ 597 w 1564"/>
                <a:gd name="T39" fmla="*/ 1181 h 1510"/>
                <a:gd name="T40" fmla="*/ 697 w 1564"/>
                <a:gd name="T41" fmla="*/ 1244 h 1510"/>
                <a:gd name="T42" fmla="*/ 801 w 1564"/>
                <a:gd name="T43" fmla="*/ 1301 h 1510"/>
                <a:gd name="T44" fmla="*/ 908 w 1564"/>
                <a:gd name="T45" fmla="*/ 1353 h 1510"/>
                <a:gd name="T46" fmla="*/ 1020 w 1564"/>
                <a:gd name="T47" fmla="*/ 1397 h 1510"/>
                <a:gd name="T48" fmla="*/ 1134 w 1564"/>
                <a:gd name="T49" fmla="*/ 1435 h 1510"/>
                <a:gd name="T50" fmla="*/ 1252 w 1564"/>
                <a:gd name="T51" fmla="*/ 1466 h 1510"/>
                <a:gd name="T52" fmla="*/ 1371 w 1564"/>
                <a:gd name="T53" fmla="*/ 1489 h 1510"/>
                <a:gd name="T54" fmla="*/ 1494 w 1564"/>
                <a:gd name="T55" fmla="*/ 1505 h 1510"/>
                <a:gd name="T56" fmla="*/ 1557 w 1564"/>
                <a:gd name="T57" fmla="*/ 1510 h 1510"/>
                <a:gd name="T58" fmla="*/ 1261 w 1564"/>
                <a:gd name="T59" fmla="*/ 971 h 1510"/>
                <a:gd name="T60" fmla="*/ 1564 w 1564"/>
                <a:gd name="T61" fmla="*/ 411 h 1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64" h="1510">
                  <a:moveTo>
                    <a:pt x="1564" y="411"/>
                  </a:moveTo>
                  <a:lnTo>
                    <a:pt x="1516" y="403"/>
                  </a:lnTo>
                  <a:lnTo>
                    <a:pt x="1422" y="379"/>
                  </a:lnTo>
                  <a:lnTo>
                    <a:pt x="1332" y="344"/>
                  </a:lnTo>
                  <a:lnTo>
                    <a:pt x="1248" y="298"/>
                  </a:lnTo>
                  <a:lnTo>
                    <a:pt x="1170" y="245"/>
                  </a:lnTo>
                  <a:lnTo>
                    <a:pt x="1099" y="184"/>
                  </a:lnTo>
                  <a:lnTo>
                    <a:pt x="1034" y="115"/>
                  </a:lnTo>
                  <a:lnTo>
                    <a:pt x="977" y="40"/>
                  </a:lnTo>
                  <a:lnTo>
                    <a:pt x="953" y="0"/>
                  </a:lnTo>
                  <a:lnTo>
                    <a:pt x="317" y="17"/>
                  </a:lnTo>
                  <a:lnTo>
                    <a:pt x="0" y="539"/>
                  </a:lnTo>
                  <a:lnTo>
                    <a:pt x="30" y="591"/>
                  </a:lnTo>
                  <a:lnTo>
                    <a:pt x="96" y="690"/>
                  </a:lnTo>
                  <a:lnTo>
                    <a:pt x="166" y="783"/>
                  </a:lnTo>
                  <a:lnTo>
                    <a:pt x="242" y="874"/>
                  </a:lnTo>
                  <a:lnTo>
                    <a:pt x="324" y="958"/>
                  </a:lnTo>
                  <a:lnTo>
                    <a:pt x="411" y="1038"/>
                  </a:lnTo>
                  <a:lnTo>
                    <a:pt x="501" y="1112"/>
                  </a:lnTo>
                  <a:lnTo>
                    <a:pt x="597" y="1181"/>
                  </a:lnTo>
                  <a:lnTo>
                    <a:pt x="697" y="1244"/>
                  </a:lnTo>
                  <a:lnTo>
                    <a:pt x="801" y="1301"/>
                  </a:lnTo>
                  <a:lnTo>
                    <a:pt x="908" y="1353"/>
                  </a:lnTo>
                  <a:lnTo>
                    <a:pt x="1020" y="1397"/>
                  </a:lnTo>
                  <a:lnTo>
                    <a:pt x="1134" y="1435"/>
                  </a:lnTo>
                  <a:lnTo>
                    <a:pt x="1252" y="1466"/>
                  </a:lnTo>
                  <a:lnTo>
                    <a:pt x="1371" y="1489"/>
                  </a:lnTo>
                  <a:lnTo>
                    <a:pt x="1494" y="1505"/>
                  </a:lnTo>
                  <a:lnTo>
                    <a:pt x="1557" y="1510"/>
                  </a:lnTo>
                  <a:lnTo>
                    <a:pt x="1261" y="971"/>
                  </a:lnTo>
                  <a:lnTo>
                    <a:pt x="1564" y="411"/>
                  </a:lnTo>
                  <a:close/>
                </a:path>
              </a:pathLst>
            </a:custGeom>
            <a:solidFill>
              <a:srgbClr val="3FBE80">
                <a:alpha val="69804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400" b="1">
                <a:solidFill>
                  <a:schemeClr val="bg1"/>
                </a:solidFill>
              </a:endParaRPr>
            </a:p>
          </p:txBody>
        </p:sp>
        <p:sp>
          <p:nvSpPr>
            <p:cNvPr id="27" name="Freeform 1169">
              <a:extLst>
                <a:ext uri="{FF2B5EF4-FFF2-40B4-BE49-F238E27FC236}">
                  <a16:creationId xmlns:a16="http://schemas.microsoft.com/office/drawing/2014/main" id="{42EEB8AE-4D4D-24B1-1262-91DF27952F7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4637" y="4273088"/>
              <a:ext cx="2365903" cy="1746145"/>
            </a:xfrm>
            <a:custGeom>
              <a:avLst/>
              <a:gdLst>
                <a:gd name="T0" fmla="*/ 970 w 1922"/>
                <a:gd name="T1" fmla="*/ 0 h 1419"/>
                <a:gd name="T2" fmla="*/ 940 w 1922"/>
                <a:gd name="T3" fmla="*/ 36 h 1419"/>
                <a:gd name="T4" fmla="*/ 874 w 1922"/>
                <a:gd name="T5" fmla="*/ 103 h 1419"/>
                <a:gd name="T6" fmla="*/ 800 w 1922"/>
                <a:gd name="T7" fmla="*/ 163 h 1419"/>
                <a:gd name="T8" fmla="*/ 721 w 1922"/>
                <a:gd name="T9" fmla="*/ 214 h 1419"/>
                <a:gd name="T10" fmla="*/ 635 w 1922"/>
                <a:gd name="T11" fmla="*/ 256 h 1419"/>
                <a:gd name="T12" fmla="*/ 546 w 1922"/>
                <a:gd name="T13" fmla="*/ 289 h 1419"/>
                <a:gd name="T14" fmla="*/ 451 w 1922"/>
                <a:gd name="T15" fmla="*/ 312 h 1419"/>
                <a:gd name="T16" fmla="*/ 353 w 1922"/>
                <a:gd name="T17" fmla="*/ 324 h 1419"/>
                <a:gd name="T18" fmla="*/ 301 w 1922"/>
                <a:gd name="T19" fmla="*/ 325 h 1419"/>
                <a:gd name="T20" fmla="*/ 298 w 1922"/>
                <a:gd name="T21" fmla="*/ 324 h 1419"/>
                <a:gd name="T22" fmla="*/ 0 w 1922"/>
                <a:gd name="T23" fmla="*/ 875 h 1419"/>
                <a:gd name="T24" fmla="*/ 298 w 1922"/>
                <a:gd name="T25" fmla="*/ 1419 h 1419"/>
                <a:gd name="T26" fmla="*/ 301 w 1922"/>
                <a:gd name="T27" fmla="*/ 1419 h 1419"/>
                <a:gd name="T28" fmla="*/ 364 w 1922"/>
                <a:gd name="T29" fmla="*/ 1418 h 1419"/>
                <a:gd name="T30" fmla="*/ 490 w 1922"/>
                <a:gd name="T31" fmla="*/ 1410 h 1419"/>
                <a:gd name="T32" fmla="*/ 612 w 1922"/>
                <a:gd name="T33" fmla="*/ 1394 h 1419"/>
                <a:gd name="T34" fmla="*/ 732 w 1922"/>
                <a:gd name="T35" fmla="*/ 1371 h 1419"/>
                <a:gd name="T36" fmla="*/ 849 w 1922"/>
                <a:gd name="T37" fmla="*/ 1341 h 1419"/>
                <a:gd name="T38" fmla="*/ 964 w 1922"/>
                <a:gd name="T39" fmla="*/ 1304 h 1419"/>
                <a:gd name="T40" fmla="*/ 1075 w 1922"/>
                <a:gd name="T41" fmla="*/ 1260 h 1419"/>
                <a:gd name="T42" fmla="*/ 1182 w 1922"/>
                <a:gd name="T43" fmla="*/ 1209 h 1419"/>
                <a:gd name="T44" fmla="*/ 1287 w 1922"/>
                <a:gd name="T45" fmla="*/ 1152 h 1419"/>
                <a:gd name="T46" fmla="*/ 1387 w 1922"/>
                <a:gd name="T47" fmla="*/ 1088 h 1419"/>
                <a:gd name="T48" fmla="*/ 1482 w 1922"/>
                <a:gd name="T49" fmla="*/ 1020 h 1419"/>
                <a:gd name="T50" fmla="*/ 1574 w 1922"/>
                <a:gd name="T51" fmla="*/ 946 h 1419"/>
                <a:gd name="T52" fmla="*/ 1660 w 1922"/>
                <a:gd name="T53" fmla="*/ 866 h 1419"/>
                <a:gd name="T54" fmla="*/ 1742 w 1922"/>
                <a:gd name="T55" fmla="*/ 781 h 1419"/>
                <a:gd name="T56" fmla="*/ 1819 w 1922"/>
                <a:gd name="T57" fmla="*/ 692 h 1419"/>
                <a:gd name="T58" fmla="*/ 1889 w 1922"/>
                <a:gd name="T59" fmla="*/ 597 h 1419"/>
                <a:gd name="T60" fmla="*/ 1922 w 1922"/>
                <a:gd name="T61" fmla="*/ 549 h 1419"/>
                <a:gd name="T62" fmla="*/ 1298 w 1922"/>
                <a:gd name="T63" fmla="*/ 535 h 1419"/>
                <a:gd name="T64" fmla="*/ 970 w 1922"/>
                <a:gd name="T65" fmla="*/ 0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22" h="1419">
                  <a:moveTo>
                    <a:pt x="970" y="0"/>
                  </a:moveTo>
                  <a:lnTo>
                    <a:pt x="940" y="36"/>
                  </a:lnTo>
                  <a:lnTo>
                    <a:pt x="874" y="103"/>
                  </a:lnTo>
                  <a:lnTo>
                    <a:pt x="800" y="163"/>
                  </a:lnTo>
                  <a:lnTo>
                    <a:pt x="721" y="214"/>
                  </a:lnTo>
                  <a:lnTo>
                    <a:pt x="635" y="256"/>
                  </a:lnTo>
                  <a:lnTo>
                    <a:pt x="546" y="289"/>
                  </a:lnTo>
                  <a:lnTo>
                    <a:pt x="451" y="312"/>
                  </a:lnTo>
                  <a:lnTo>
                    <a:pt x="353" y="324"/>
                  </a:lnTo>
                  <a:lnTo>
                    <a:pt x="301" y="325"/>
                  </a:lnTo>
                  <a:lnTo>
                    <a:pt x="298" y="324"/>
                  </a:lnTo>
                  <a:lnTo>
                    <a:pt x="0" y="875"/>
                  </a:lnTo>
                  <a:lnTo>
                    <a:pt x="298" y="1419"/>
                  </a:lnTo>
                  <a:lnTo>
                    <a:pt x="301" y="1419"/>
                  </a:lnTo>
                  <a:lnTo>
                    <a:pt x="364" y="1418"/>
                  </a:lnTo>
                  <a:lnTo>
                    <a:pt x="490" y="1410"/>
                  </a:lnTo>
                  <a:lnTo>
                    <a:pt x="612" y="1394"/>
                  </a:lnTo>
                  <a:lnTo>
                    <a:pt x="732" y="1371"/>
                  </a:lnTo>
                  <a:lnTo>
                    <a:pt x="849" y="1341"/>
                  </a:lnTo>
                  <a:lnTo>
                    <a:pt x="964" y="1304"/>
                  </a:lnTo>
                  <a:lnTo>
                    <a:pt x="1075" y="1260"/>
                  </a:lnTo>
                  <a:lnTo>
                    <a:pt x="1182" y="1209"/>
                  </a:lnTo>
                  <a:lnTo>
                    <a:pt x="1287" y="1152"/>
                  </a:lnTo>
                  <a:lnTo>
                    <a:pt x="1387" y="1088"/>
                  </a:lnTo>
                  <a:lnTo>
                    <a:pt x="1482" y="1020"/>
                  </a:lnTo>
                  <a:lnTo>
                    <a:pt x="1574" y="946"/>
                  </a:lnTo>
                  <a:lnTo>
                    <a:pt x="1660" y="866"/>
                  </a:lnTo>
                  <a:lnTo>
                    <a:pt x="1742" y="781"/>
                  </a:lnTo>
                  <a:lnTo>
                    <a:pt x="1819" y="692"/>
                  </a:lnTo>
                  <a:lnTo>
                    <a:pt x="1889" y="597"/>
                  </a:lnTo>
                  <a:lnTo>
                    <a:pt x="1922" y="549"/>
                  </a:lnTo>
                  <a:lnTo>
                    <a:pt x="1298" y="535"/>
                  </a:lnTo>
                  <a:lnTo>
                    <a:pt x="970" y="0"/>
                  </a:lnTo>
                  <a:close/>
                </a:path>
              </a:pathLst>
            </a:custGeom>
            <a:solidFill>
              <a:srgbClr val="3FBE80">
                <a:alpha val="6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457200" bIns="45720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400" b="1">
                <a:solidFill>
                  <a:schemeClr val="bg1"/>
                </a:solidFill>
              </a:endParaRPr>
            </a:p>
          </p:txBody>
        </p:sp>
      </p:grpSp>
      <p:sp>
        <p:nvSpPr>
          <p:cNvPr id="15" name="Tekstvak 14">
            <a:extLst>
              <a:ext uri="{FF2B5EF4-FFF2-40B4-BE49-F238E27FC236}">
                <a16:creationId xmlns:a16="http://schemas.microsoft.com/office/drawing/2014/main" id="{753EB56D-7972-ECA2-42E9-6D09369260D3}"/>
              </a:ext>
            </a:extLst>
          </p:cNvPr>
          <p:cNvSpPr txBox="1"/>
          <p:nvPr/>
        </p:nvSpPr>
        <p:spPr>
          <a:xfrm>
            <a:off x="6299406" y="1686899"/>
            <a:ext cx="240517" cy="3411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1</a:t>
            </a:r>
          </a:p>
        </p:txBody>
      </p:sp>
      <p:pic>
        <p:nvPicPr>
          <p:cNvPr id="16" name="Picture 8" descr="BCG matrix Icon - Free PNG &amp; SVG 628628 - Noun Project">
            <a:extLst>
              <a:ext uri="{FF2B5EF4-FFF2-40B4-BE49-F238E27FC236}">
                <a16:creationId xmlns:a16="http://schemas.microsoft.com/office/drawing/2014/main" id="{0FC27E14-07E4-416F-A4C8-AB2DB7F10F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015" b="31025"/>
          <a:stretch/>
        </p:blipFill>
        <p:spPr bwMode="auto">
          <a:xfrm>
            <a:off x="6458350" y="1070999"/>
            <a:ext cx="670439" cy="557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kstvak 16">
            <a:extLst>
              <a:ext uri="{FF2B5EF4-FFF2-40B4-BE49-F238E27FC236}">
                <a16:creationId xmlns:a16="http://schemas.microsoft.com/office/drawing/2014/main" id="{3E976031-9F07-3883-0C3B-84312D8D4F42}"/>
              </a:ext>
            </a:extLst>
          </p:cNvPr>
          <p:cNvSpPr txBox="1"/>
          <p:nvPr/>
        </p:nvSpPr>
        <p:spPr>
          <a:xfrm>
            <a:off x="6694743" y="2778269"/>
            <a:ext cx="240517" cy="3411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2</a:t>
            </a:r>
          </a:p>
        </p:txBody>
      </p:sp>
      <p:pic>
        <p:nvPicPr>
          <p:cNvPr id="18" name="Picture 16" descr="Analysis - Free business and finance icons">
            <a:extLst>
              <a:ext uri="{FF2B5EF4-FFF2-40B4-BE49-F238E27FC236}">
                <a16:creationId xmlns:a16="http://schemas.microsoft.com/office/drawing/2014/main" id="{6259B04B-2CC9-8565-51C6-DEAABF37F2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3779" y="2864180"/>
            <a:ext cx="495120" cy="495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6" descr="Data collection Special Lineal icon">
            <a:extLst>
              <a:ext uri="{FF2B5EF4-FFF2-40B4-BE49-F238E27FC236}">
                <a16:creationId xmlns:a16="http://schemas.microsoft.com/office/drawing/2014/main" id="{A8EBE59E-C1DA-0B7B-C922-72046DFA1C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1490" y="4234832"/>
            <a:ext cx="495120" cy="495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" descr="Data Conversion Icons - Free SVG &amp; PNG Data Conversion Images - Noun Project">
            <a:extLst>
              <a:ext uri="{FF2B5EF4-FFF2-40B4-BE49-F238E27FC236}">
                <a16:creationId xmlns:a16="http://schemas.microsoft.com/office/drawing/2014/main" id="{55EFAB1A-1354-5109-7CB4-AEC447D011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8414" y="3870726"/>
            <a:ext cx="501645" cy="501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Our Corporate Social Responsibility - Punch Powertrain">
            <a:extLst>
              <a:ext uri="{FF2B5EF4-FFF2-40B4-BE49-F238E27FC236}">
                <a16:creationId xmlns:a16="http://schemas.microsoft.com/office/drawing/2014/main" id="{145F96F9-1D7E-7DDC-9C28-B5176E226E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9809" y="1877575"/>
            <a:ext cx="2161309" cy="1872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kstvak 27">
            <a:extLst>
              <a:ext uri="{FF2B5EF4-FFF2-40B4-BE49-F238E27FC236}">
                <a16:creationId xmlns:a16="http://schemas.microsoft.com/office/drawing/2014/main" id="{B5C00A05-E1C4-3A81-2735-D3F75E85DDF2}"/>
              </a:ext>
            </a:extLst>
          </p:cNvPr>
          <p:cNvSpPr txBox="1"/>
          <p:nvPr/>
        </p:nvSpPr>
        <p:spPr>
          <a:xfrm>
            <a:off x="5985800" y="3681406"/>
            <a:ext cx="240517" cy="3411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r>
              <a:rPr lang="en-GB" sz="2800" b="1">
                <a:solidFill>
                  <a:srgbClr val="FFFFFF"/>
                </a:solidFill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3</a:t>
            </a:r>
            <a:endParaRPr kumimoji="0" lang="en-GB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9" name="Tekstvak 28">
            <a:extLst>
              <a:ext uri="{FF2B5EF4-FFF2-40B4-BE49-F238E27FC236}">
                <a16:creationId xmlns:a16="http://schemas.microsoft.com/office/drawing/2014/main" id="{8EE0E97C-18FB-7347-6AD0-072656D5CE25}"/>
              </a:ext>
            </a:extLst>
          </p:cNvPr>
          <p:cNvSpPr txBox="1"/>
          <p:nvPr/>
        </p:nvSpPr>
        <p:spPr>
          <a:xfrm>
            <a:off x="4736671" y="3507315"/>
            <a:ext cx="240517" cy="3411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4</a:t>
            </a:r>
          </a:p>
        </p:txBody>
      </p:sp>
      <p:sp>
        <p:nvSpPr>
          <p:cNvPr id="30" name="Tekstvak 29">
            <a:extLst>
              <a:ext uri="{FF2B5EF4-FFF2-40B4-BE49-F238E27FC236}">
                <a16:creationId xmlns:a16="http://schemas.microsoft.com/office/drawing/2014/main" id="{AC6FDF2F-D458-B659-4194-6BDD4867BE7C}"/>
              </a:ext>
            </a:extLst>
          </p:cNvPr>
          <p:cNvSpPr txBox="1"/>
          <p:nvPr/>
        </p:nvSpPr>
        <p:spPr>
          <a:xfrm>
            <a:off x="4314053" y="2362203"/>
            <a:ext cx="240517" cy="3411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r>
              <a:rPr lang="en-GB" sz="2800" b="1">
                <a:solidFill>
                  <a:srgbClr val="FFFFFF"/>
                </a:solidFill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5</a:t>
            </a:r>
            <a:endParaRPr kumimoji="0" lang="en-GB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" name="Tekstvak 30">
            <a:extLst>
              <a:ext uri="{FF2B5EF4-FFF2-40B4-BE49-F238E27FC236}">
                <a16:creationId xmlns:a16="http://schemas.microsoft.com/office/drawing/2014/main" id="{B6721386-2831-B00B-B36A-43FB461FA4D1}"/>
              </a:ext>
            </a:extLst>
          </p:cNvPr>
          <p:cNvSpPr txBox="1"/>
          <p:nvPr/>
        </p:nvSpPr>
        <p:spPr>
          <a:xfrm>
            <a:off x="5123037" y="1474257"/>
            <a:ext cx="240517" cy="3411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6</a:t>
            </a:r>
          </a:p>
        </p:txBody>
      </p:sp>
      <p:pic>
        <p:nvPicPr>
          <p:cNvPr id="32" name="Picture 2" descr="Dashboard - Free seo and web icons">
            <a:extLst>
              <a:ext uri="{FF2B5EF4-FFF2-40B4-BE49-F238E27FC236}">
                <a16:creationId xmlns:a16="http://schemas.microsoft.com/office/drawing/2014/main" id="{351071D6-2F9D-F455-634C-41102D277C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3120" y="2279280"/>
            <a:ext cx="544632" cy="544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" descr="Road map Icons &amp; Symbols">
            <a:extLst>
              <a:ext uri="{FF2B5EF4-FFF2-40B4-BE49-F238E27FC236}">
                <a16:creationId xmlns:a16="http://schemas.microsoft.com/office/drawing/2014/main" id="{23C6009F-DB16-44C2-DC00-20B0AFCEC0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alphaModFix/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9211" y="869727"/>
            <a:ext cx="522558" cy="522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C51A5C79-97D5-A58C-4D18-5DEAF0E4B7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688" y="6119725"/>
            <a:ext cx="431800" cy="360362"/>
          </a:xfrm>
        </p:spPr>
        <p:txBody>
          <a:bodyPr/>
          <a:lstStyle/>
          <a:p>
            <a:pPr marL="0" marR="0" lvl="0" indent="0" algn="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82D01A-ED25-4F30-894A-E32B487BCBA5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F4F6F8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pPr marL="0" marR="0" lvl="0" indent="0" algn="r" defTabSz="86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F4F6F8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2A8F0B6F-B5B7-CE45-765C-63F4B39C82A1}"/>
              </a:ext>
            </a:extLst>
          </p:cNvPr>
          <p:cNvSpPr/>
          <p:nvPr/>
        </p:nvSpPr>
        <p:spPr>
          <a:xfrm>
            <a:off x="244" y="5804413"/>
            <a:ext cx="11520488" cy="67558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err="1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EAB44FB-A21B-3D6F-CB60-7D216532712D}"/>
              </a:ext>
            </a:extLst>
          </p:cNvPr>
          <p:cNvSpPr txBox="1">
            <a:spLocks/>
          </p:cNvSpPr>
          <p:nvPr/>
        </p:nvSpPr>
        <p:spPr>
          <a:xfrm>
            <a:off x="125479" y="5917710"/>
            <a:ext cx="10296239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BeYOND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3AD081B1-544B-890D-7948-96AF4FC2BD85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1026" name="Picture 2" descr="Nationale Coalitie Duurzame Digitalisering">
            <a:extLst>
              <a:ext uri="{FF2B5EF4-FFF2-40B4-BE49-F238E27FC236}">
                <a16:creationId xmlns:a16="http://schemas.microsoft.com/office/drawing/2014/main" id="{7F2CD763-C8CA-7BF7-8A35-09C655723E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5" name="TextBox 65">
            <a:extLst>
              <a:ext uri="{FF2B5EF4-FFF2-40B4-BE49-F238E27FC236}">
                <a16:creationId xmlns:a16="http://schemas.microsoft.com/office/drawing/2014/main" id="{D443000D-F66C-6B5D-6BEA-B42DDBA07B66}"/>
              </a:ext>
            </a:extLst>
          </p:cNvPr>
          <p:cNvSpPr txBox="1"/>
          <p:nvPr/>
        </p:nvSpPr>
        <p:spPr>
          <a:xfrm>
            <a:off x="1976609" y="473774"/>
            <a:ext cx="3478132" cy="646331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kern="0" noProof="1">
                <a:solidFill>
                  <a:srgbClr val="F3FBF7"/>
                </a:solidFill>
                <a:latin typeface="Montserrat"/>
              </a:rPr>
              <a:t>6</a:t>
            </a:r>
            <a:r>
              <a:rPr kumimoji="0" lang="en-US" sz="1800" b="1" i="0" u="none" strike="noStrike" kern="0" cap="none" spc="0" normalizeH="0" baseline="0" noProof="1">
                <a:ln>
                  <a:noFill/>
                </a:ln>
                <a:solidFill>
                  <a:srgbClr val="F3FBF7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. </a:t>
            </a:r>
            <a:r>
              <a:rPr kumimoji="0" lang="en-US" sz="1800" b="0" i="0" u="none" strike="noStrike" kern="0" cap="none" spc="0" normalizeH="0" baseline="0" noProof="1">
                <a:ln>
                  <a:noFill/>
                </a:ln>
                <a:solidFill>
                  <a:srgbClr val="F3FBF7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SG actieplan &amp; </a:t>
            </a:r>
            <a:endParaRPr kumimoji="0" lang="en-US" sz="1800" b="0" i="0" u="none" strike="noStrike" kern="0" cap="none" spc="0" normalizeH="0" baseline="0" noProof="1">
              <a:ln>
                <a:noFill/>
              </a:ln>
              <a:solidFill>
                <a:srgbClr val="F3FBF7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1">
                <a:ln>
                  <a:noFill/>
                </a:ln>
                <a:solidFill>
                  <a:srgbClr val="F3FBF7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ntinu verbeteren</a:t>
            </a:r>
          </a:p>
        </p:txBody>
      </p:sp>
      <p:sp>
        <p:nvSpPr>
          <p:cNvPr id="1058" name="TextBox 74">
            <a:extLst>
              <a:ext uri="{FF2B5EF4-FFF2-40B4-BE49-F238E27FC236}">
                <a16:creationId xmlns:a16="http://schemas.microsoft.com/office/drawing/2014/main" id="{207AAEDD-4675-1D02-9905-4F62C020FA3D}"/>
              </a:ext>
            </a:extLst>
          </p:cNvPr>
          <p:cNvSpPr txBox="1"/>
          <p:nvPr/>
        </p:nvSpPr>
        <p:spPr>
          <a:xfrm>
            <a:off x="1301150" y="2477390"/>
            <a:ext cx="2753490" cy="646331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5</a:t>
            </a:r>
            <a:r>
              <a:rPr kumimoji="0" lang="en-US" sz="1800" b="1" i="0" u="none" strike="noStrike" kern="0" cap="none" spc="0" normalizeH="0" baseline="0" noProof="1">
                <a:ln>
                  <a:noFill/>
                </a:ln>
                <a:solidFill>
                  <a:srgbClr val="F3FBF7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. </a:t>
            </a:r>
            <a:r>
              <a:rPr kumimoji="0" lang="en-US" sz="1800" b="0" i="0" u="none" strike="noStrike" kern="0" cap="none" spc="0" normalizeH="0" baseline="0" noProof="1">
                <a:ln>
                  <a:noFill/>
                </a:ln>
                <a:solidFill>
                  <a:srgbClr val="F3FBF7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Rapporteren &amp; compliance</a:t>
            </a:r>
          </a:p>
        </p:txBody>
      </p:sp>
    </p:spTree>
    <p:extLst>
      <p:ext uri="{BB962C8B-B14F-4D97-AF65-F5344CB8AC3E}">
        <p14:creationId xmlns:p14="http://schemas.microsoft.com/office/powerpoint/2010/main" val="1471194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8C620AD-BC6F-787C-54FF-080C2B4640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78EDECF-4AE5-3C8B-E588-47CA0A82B94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BBFB4D-5917-2CCB-DA1F-D936E6473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2D01A-ED25-4F30-894A-E32B487BCBA5}" type="slidenum">
              <a:rPr lang="nl-NL" smtClean="0"/>
              <a:pPr/>
              <a:t>15</a:t>
            </a:fld>
            <a:endParaRPr lang="nl-NL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BAA54BC3-ACB9-6E93-59C0-41850FC588B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lIns="0" tIns="0" rIns="0" bIns="0" anchor="t">
            <a:normAutofit/>
          </a:bodyPr>
          <a:lstStyle/>
          <a:p>
            <a:r>
              <a:rPr lang="en-US">
                <a:latin typeface="Open Sans"/>
                <a:ea typeface="Open Sans"/>
                <a:cs typeface="Open Sans"/>
              </a:rPr>
              <a:t>5 </a:t>
            </a:r>
            <a:r>
              <a:rPr lang="en-US" err="1">
                <a:latin typeface="Open Sans"/>
                <a:ea typeface="Open Sans"/>
                <a:cs typeface="Open Sans"/>
              </a:rPr>
              <a:t>minuten</a:t>
            </a:r>
            <a:endParaRPr lang="en-US" err="1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C7F3309-38C1-5B48-6C51-12065902D27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latin typeface="Open Sans"/>
                <a:ea typeface="Open Sans"/>
                <a:cs typeface="Open Sans"/>
              </a:rPr>
              <a:t>Edwin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259EA31-982F-FB20-D20C-4893CED152B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48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2">
            <a:extLst>
              <a:ext uri="{FF2B5EF4-FFF2-40B4-BE49-F238E27FC236}">
                <a16:creationId xmlns:a16="http://schemas.microsoft.com/office/drawing/2014/main" id="{7731A4AE-30DF-0604-08F0-06657DB24E30}"/>
              </a:ext>
            </a:extLst>
          </p:cNvPr>
          <p:cNvSpPr/>
          <p:nvPr/>
        </p:nvSpPr>
        <p:spPr>
          <a:xfrm>
            <a:off x="244" y="5804413"/>
            <a:ext cx="11520488" cy="67558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marL="0" algn="l" defTabSz="863959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1979" algn="l" defTabSz="863959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3959" algn="l" defTabSz="863959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5938" algn="l" defTabSz="863959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7917" algn="l" defTabSz="863959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9896" algn="l" defTabSz="863959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1875" algn="l" defTabSz="863959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3854" algn="l" defTabSz="863959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5833" algn="l" defTabSz="863959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err="1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533073BA-6013-1AF3-7218-93A97C22B9DF}"/>
              </a:ext>
            </a:extLst>
          </p:cNvPr>
          <p:cNvSpPr/>
          <p:nvPr/>
        </p:nvSpPr>
        <p:spPr>
          <a:xfrm>
            <a:off x="-10428" y="-7990"/>
            <a:ext cx="4694828" cy="5812403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3"/>
              </a:buClr>
            </a:pPr>
            <a:endParaRPr lang="en-GB" sz="900" err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TextBox 80">
            <a:extLst>
              <a:ext uri="{FF2B5EF4-FFF2-40B4-BE49-F238E27FC236}">
                <a16:creationId xmlns:a16="http://schemas.microsoft.com/office/drawing/2014/main" id="{E4B56F38-D319-1E33-83EB-0F04349BE264}"/>
              </a:ext>
            </a:extLst>
          </p:cNvPr>
          <p:cNvSpPr txBox="1"/>
          <p:nvPr/>
        </p:nvSpPr>
        <p:spPr>
          <a:xfrm>
            <a:off x="124808" y="665005"/>
            <a:ext cx="4587492" cy="5940088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 defTabSz="914354">
              <a:defRPr/>
            </a:pPr>
            <a:r>
              <a:rPr lang="nl-NL" sz="1600" b="1" kern="0" noProof="1">
                <a:solidFill>
                  <a:srgbClr val="F3FBF7"/>
                </a:solidFill>
                <a:latin typeface="Montserrat"/>
                <a:ea typeface="+mn-lt"/>
                <a:cs typeface="+mn-lt"/>
              </a:rPr>
              <a:t>STAP 1: </a:t>
            </a:r>
            <a:r>
              <a:rPr lang="nl-NL" sz="1600" b="1" kern="0" noProof="1">
                <a:solidFill>
                  <a:srgbClr val="F3FBF7"/>
                </a:solidFill>
                <a:ea typeface="+mn-lt"/>
                <a:cs typeface="+mn-lt"/>
              </a:rPr>
              <a:t>De Start van CSRD</a:t>
            </a:r>
            <a:br>
              <a:rPr lang="nl-NL" sz="1600" b="1" kern="0" noProof="1">
                <a:latin typeface="Montserrat" panose="00000500000000000000" pitchFamily="2" charset="0"/>
                <a:ea typeface="+mn-lt"/>
                <a:cs typeface="+mn-lt"/>
              </a:rPr>
            </a:br>
            <a:r>
              <a:rPr lang="nl-NL" sz="2400" b="1" kern="0" noProof="1">
                <a:solidFill>
                  <a:srgbClr val="F3FBF7"/>
                </a:solidFill>
                <a:latin typeface="Montserrat"/>
                <a:ea typeface="+mn-lt"/>
                <a:cs typeface="+mn-lt"/>
              </a:rPr>
              <a:t>Waardeketen, Dubbele materialiteitsanalyse &amp; organisatie</a:t>
            </a:r>
            <a:endParaRPr lang="nl-NL">
              <a:latin typeface="Montserrat"/>
              <a:ea typeface="+mn-lt"/>
              <a:cs typeface="+mn-lt"/>
            </a:endParaRPr>
          </a:p>
          <a:p>
            <a:pPr defTabSz="914354"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</a:rPr>
              <a:t>Van willen en mogen naar moeten. </a:t>
            </a:r>
            <a:endParaRPr lang="nl-NL" sz="1400" kern="0">
              <a:solidFill>
                <a:srgbClr val="F3FBF7"/>
              </a:solidFill>
              <a:latin typeface="Montserrat"/>
            </a:endParaRPr>
          </a:p>
          <a:p>
            <a:pPr defTabSz="914354"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</a:rPr>
              <a:t>CSRD verplichting zet eindverantwoordelijke onder druk. Door ketenwerking zullen niet CSRD plichtige ook snel te maken krijgen met CSRD.</a:t>
            </a:r>
            <a:endParaRPr lang="nl-NL" sz="1400" kern="0">
              <a:solidFill>
                <a:srgbClr val="F3FBF7"/>
              </a:solidFill>
              <a:latin typeface="Montserrat"/>
            </a:endParaRPr>
          </a:p>
          <a:p>
            <a:pPr defTabSz="914354">
              <a:defRPr/>
            </a:pPr>
            <a:endParaRPr lang="nl-NL" sz="1400" kern="0" noProof="1">
              <a:solidFill>
                <a:srgbClr val="F3FBF7"/>
              </a:solidFill>
              <a:latin typeface="Montserrat"/>
            </a:endParaRPr>
          </a:p>
          <a:p>
            <a:pPr defTabSz="914354"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</a:rPr>
              <a:t>De uitdaging: hoe creëer ik inzicht en rapporteer ik over de materiele duurzaamheid (ESRS) topics. </a:t>
            </a:r>
            <a:endParaRPr lang="nl-NL" sz="1400" kern="0">
              <a:solidFill>
                <a:srgbClr val="F3FBF7"/>
              </a:solidFill>
              <a:latin typeface="Montserrat"/>
            </a:endParaRPr>
          </a:p>
          <a:p>
            <a:pPr marL="285750" indent="-285750" defTabSz="914354">
              <a:buFont typeface="Arial"/>
              <a:buChar char="•"/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</a:rPr>
              <a:t>Inzicht in de waardeketen van de organisatie (supply chain) en belangrijkste stakeholders;</a:t>
            </a:r>
            <a:endParaRPr lang="nl-NL" sz="1400" kern="0">
              <a:solidFill>
                <a:srgbClr val="F3FBF7"/>
              </a:solidFill>
              <a:latin typeface="Montserrat"/>
            </a:endParaRPr>
          </a:p>
          <a:p>
            <a:pPr marL="285750" indent="-285750" defTabSz="914354">
              <a:buFont typeface="Arial"/>
              <a:buChar char="•"/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</a:rPr>
              <a:t>Het uitvoeren van een dubbele materialiteitsanalyse en inzicht materiele ESRS topics;</a:t>
            </a:r>
            <a:endParaRPr lang="nl-NL" sz="1400" kern="0">
              <a:solidFill>
                <a:srgbClr val="F3FBF7"/>
              </a:solidFill>
              <a:latin typeface="Montserrat"/>
            </a:endParaRPr>
          </a:p>
          <a:p>
            <a:pPr marL="285750" indent="-285750" defTabSz="914354">
              <a:buFont typeface="Arial"/>
              <a:buChar char="•"/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</a:rPr>
              <a:t>Rapporteren en verantwoorden ESRS topics op basis van datapunten (</a:t>
            </a:r>
            <a:r>
              <a:rPr lang="nl-NL" sz="1400" kern="0" noProof="1">
                <a:solidFill>
                  <a:srgbClr val="F3FBF7"/>
                </a:solidFill>
                <a:latin typeface="Montserra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efrag.org</a:t>
            </a:r>
            <a:r>
              <a:rPr lang="nl-NL" sz="1400" kern="0" noProof="1">
                <a:solidFill>
                  <a:srgbClr val="F3FBF7"/>
                </a:solidFill>
                <a:latin typeface="Montserrat"/>
              </a:rPr>
              <a:t>).</a:t>
            </a:r>
            <a:endParaRPr lang="nl-NL" sz="1400" kern="0">
              <a:solidFill>
                <a:srgbClr val="F3FBF7"/>
              </a:solidFill>
              <a:latin typeface="Montserrat"/>
            </a:endParaRPr>
          </a:p>
          <a:p>
            <a:pPr marL="285750" indent="-285750" defTabSz="914354">
              <a:buFont typeface="Arial"/>
              <a:buChar char="•"/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</a:rPr>
              <a:t>Draagvlak: Iedereen meekrijgen en van bovenaf gedragen werken aan duurzaamheid. </a:t>
            </a:r>
            <a:endParaRPr lang="nl-NL" sz="1400" kern="0">
              <a:solidFill>
                <a:srgbClr val="F3FBF7"/>
              </a:solidFill>
              <a:latin typeface="Montserrat"/>
            </a:endParaRPr>
          </a:p>
          <a:p>
            <a:pPr defTabSz="914354">
              <a:defRPr/>
            </a:pPr>
            <a:endParaRPr lang="nl-NL" sz="2400" b="1" kern="0" noProof="1">
              <a:solidFill>
                <a:srgbClr val="F3FBF7"/>
              </a:solidFill>
              <a:latin typeface="Montserrat"/>
              <a:ea typeface="Calibri"/>
              <a:cs typeface="Calibri"/>
            </a:endParaRPr>
          </a:p>
          <a:p>
            <a:pPr defTabSz="914354">
              <a:defRPr/>
            </a:pPr>
            <a:endParaRPr lang="nl-NL" sz="1600" b="1" kern="0" noProof="1">
              <a:solidFill>
                <a:srgbClr val="F3FBF7"/>
              </a:solidFill>
              <a:latin typeface="Calibri"/>
              <a:ea typeface="Calibri"/>
              <a:cs typeface="Calibri"/>
            </a:endParaRPr>
          </a:p>
          <a:p>
            <a:pPr marL="285750" indent="-285750" defTabSz="914354">
              <a:buFont typeface="Arial" panose="020B0604020202020204" pitchFamily="34" charset="0"/>
              <a:buChar char="•"/>
              <a:defRPr/>
            </a:pPr>
            <a:endParaRPr lang="nl-NL" sz="1400" kern="0" noProof="1">
              <a:solidFill>
                <a:srgbClr val="F3FBF7"/>
              </a:solidFill>
              <a:latin typeface="Montserrat" panose="00000500000000000000" pitchFamily="2" charset="0"/>
            </a:endParaRPr>
          </a:p>
          <a:p>
            <a:pPr marL="285750" indent="-285750" defTabSz="914354">
              <a:buFont typeface="Arial" panose="020B0604020202020204" pitchFamily="34" charset="0"/>
              <a:buChar char="•"/>
              <a:defRPr/>
            </a:pPr>
            <a:endParaRPr lang="nl-NL" sz="1400" kern="0" noProof="1">
              <a:solidFill>
                <a:srgbClr val="F3FBF7"/>
              </a:solidFill>
              <a:latin typeface="Montserrat" panose="00000500000000000000" pitchFamily="2" charset="0"/>
            </a:endParaRPr>
          </a:p>
        </p:txBody>
      </p:sp>
      <p:sp>
        <p:nvSpPr>
          <p:cNvPr id="14" name="Tijdelijke aanduiding voor dianummer 1">
            <a:extLst>
              <a:ext uri="{FF2B5EF4-FFF2-40B4-BE49-F238E27FC236}">
                <a16:creationId xmlns:a16="http://schemas.microsoft.com/office/drawing/2014/main" id="{88C0960E-C636-27DF-1C6B-EE1287961A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688" y="6119725"/>
            <a:ext cx="431800" cy="360362"/>
          </a:xfrm>
        </p:spPr>
        <p:txBody>
          <a:bodyPr/>
          <a:lstStyle/>
          <a:p>
            <a:pPr marL="0" marR="0" lvl="0" indent="0" algn="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82D01A-ED25-4F30-894A-E32B487BCBA5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F4F6F8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pPr marL="0" marR="0" lvl="0" indent="0" algn="r" defTabSz="86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F4F6F8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96AC8704-6E1D-1429-198B-B2AF0E1D5671}"/>
              </a:ext>
            </a:extLst>
          </p:cNvPr>
          <p:cNvSpPr txBox="1">
            <a:spLocks/>
          </p:cNvSpPr>
          <p:nvPr/>
        </p:nvSpPr>
        <p:spPr>
          <a:xfrm>
            <a:off x="125479" y="5917710"/>
            <a:ext cx="10296239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BeYOND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" name="Rechthoek 9264">
            <a:extLst>
              <a:ext uri="{FF2B5EF4-FFF2-40B4-BE49-F238E27FC236}">
                <a16:creationId xmlns:a16="http://schemas.microsoft.com/office/drawing/2014/main" id="{5100DBD9-E2EF-6E0B-D5B2-2CEEFFE2E2DB}"/>
              </a:ext>
            </a:extLst>
          </p:cNvPr>
          <p:cNvSpPr/>
          <p:nvPr/>
        </p:nvSpPr>
        <p:spPr>
          <a:xfrm>
            <a:off x="5581793" y="1042468"/>
            <a:ext cx="3645253" cy="3653293"/>
          </a:xfrm>
          <a:prstGeom prst="rect">
            <a:avLst/>
          </a:prstGeom>
          <a:solidFill>
            <a:schemeClr val="bg1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3"/>
              </a:buClr>
            </a:pPr>
            <a:endParaRPr lang="en-GB" sz="900" err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23" name="Tabel 10">
            <a:extLst>
              <a:ext uri="{FF2B5EF4-FFF2-40B4-BE49-F238E27FC236}">
                <a16:creationId xmlns:a16="http://schemas.microsoft.com/office/drawing/2014/main" id="{77E1A521-7B44-51A4-7276-70F529575D48}"/>
              </a:ext>
            </a:extLst>
          </p:cNvPr>
          <p:cNvGraphicFramePr>
            <a:graphicFrameLocks noGrp="1"/>
          </p:cNvGraphicFramePr>
          <p:nvPr/>
        </p:nvGraphicFramePr>
        <p:xfrm>
          <a:off x="5578591" y="1042558"/>
          <a:ext cx="3657600" cy="3657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57200">
                  <a:extLst>
                    <a:ext uri="{9D8B030D-6E8A-4147-A177-3AD203B41FA5}">
                      <a16:colId xmlns:a16="http://schemas.microsoft.com/office/drawing/2014/main" val="1131522504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1031122897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97825807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2926738935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859197045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3806119308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2266041158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2314452625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64285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26947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448141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781257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512152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591602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4703106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rgbClr val="00B05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B050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3092772"/>
                  </a:ext>
                </a:extLst>
              </a:tr>
            </a:tbl>
          </a:graphicData>
        </a:graphic>
      </p:graphicFrame>
      <p:cxnSp>
        <p:nvCxnSpPr>
          <p:cNvPr id="24" name="Rechte verbindingslijn met pijl 1103">
            <a:extLst>
              <a:ext uri="{FF2B5EF4-FFF2-40B4-BE49-F238E27FC236}">
                <a16:creationId xmlns:a16="http://schemas.microsoft.com/office/drawing/2014/main" id="{2C804B10-B1E7-1ABC-6FB0-0F8F8BFDB368}"/>
              </a:ext>
            </a:extLst>
          </p:cNvPr>
          <p:cNvCxnSpPr/>
          <p:nvPr/>
        </p:nvCxnSpPr>
        <p:spPr>
          <a:xfrm>
            <a:off x="5578591" y="1042557"/>
            <a:ext cx="0" cy="3657600"/>
          </a:xfrm>
          <a:prstGeom prst="straightConnector1">
            <a:avLst/>
          </a:prstGeom>
          <a:ln w="38100">
            <a:solidFill>
              <a:srgbClr val="3FBE80">
                <a:alpha val="60000"/>
              </a:srgb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echte verbindingslijn met pijl 1104">
            <a:extLst>
              <a:ext uri="{FF2B5EF4-FFF2-40B4-BE49-F238E27FC236}">
                <a16:creationId xmlns:a16="http://schemas.microsoft.com/office/drawing/2014/main" id="{B5324253-B17E-0D90-89DB-1919A803AAE0}"/>
              </a:ext>
            </a:extLst>
          </p:cNvPr>
          <p:cNvCxnSpPr>
            <a:cxnSpLocks/>
          </p:cNvCxnSpPr>
          <p:nvPr/>
        </p:nvCxnSpPr>
        <p:spPr>
          <a:xfrm flipH="1">
            <a:off x="5569447" y="4700157"/>
            <a:ext cx="3657600" cy="0"/>
          </a:xfrm>
          <a:prstGeom prst="straightConnector1">
            <a:avLst/>
          </a:prstGeom>
          <a:ln w="38100">
            <a:solidFill>
              <a:srgbClr val="3FBE80">
                <a:alpha val="60000"/>
              </a:srgb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kstvak 1105">
            <a:extLst>
              <a:ext uri="{FF2B5EF4-FFF2-40B4-BE49-F238E27FC236}">
                <a16:creationId xmlns:a16="http://schemas.microsoft.com/office/drawing/2014/main" id="{98DAE40B-75DA-E852-8940-47A04F2C2436}"/>
              </a:ext>
            </a:extLst>
          </p:cNvPr>
          <p:cNvSpPr txBox="1"/>
          <p:nvPr/>
        </p:nvSpPr>
        <p:spPr>
          <a:xfrm>
            <a:off x="6025830" y="4749978"/>
            <a:ext cx="2744834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nl-NL" sz="1050" b="1" kern="0">
                <a:solidFill>
                  <a:srgbClr val="3FBE80"/>
                </a:solidFill>
                <a:latin typeface="Montserrat" panose="00000500000000000000" pitchFamily="2" charset="0"/>
              </a:rPr>
              <a:t>Business case </a:t>
            </a:r>
          </a:p>
          <a:p>
            <a:pPr algn="ctr"/>
            <a:r>
              <a:rPr lang="nl-NL" sz="1050" b="1" kern="0">
                <a:solidFill>
                  <a:srgbClr val="3FBE80"/>
                </a:solidFill>
                <a:latin typeface="Montserrat" panose="00000500000000000000" pitchFamily="2" charset="0"/>
              </a:rPr>
              <a:t>(risico &amp; kans)</a:t>
            </a:r>
          </a:p>
        </p:txBody>
      </p:sp>
      <p:sp>
        <p:nvSpPr>
          <p:cNvPr id="32" name="Tekstvak 1106">
            <a:extLst>
              <a:ext uri="{FF2B5EF4-FFF2-40B4-BE49-F238E27FC236}">
                <a16:creationId xmlns:a16="http://schemas.microsoft.com/office/drawing/2014/main" id="{7696EDF7-1A07-F678-8C86-398D815E6AF5}"/>
              </a:ext>
            </a:extLst>
          </p:cNvPr>
          <p:cNvSpPr txBox="1"/>
          <p:nvPr/>
        </p:nvSpPr>
        <p:spPr>
          <a:xfrm rot="16200000">
            <a:off x="4396353" y="2717135"/>
            <a:ext cx="1901697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nl-NL" sz="1050" b="1" kern="0">
                <a:solidFill>
                  <a:srgbClr val="3FBE80"/>
                </a:solidFill>
                <a:latin typeface="Montserrat" panose="00000500000000000000" pitchFamily="2" charset="0"/>
              </a:rPr>
              <a:t>Environmental &amp; </a:t>
            </a:r>
          </a:p>
          <a:p>
            <a:pPr algn="ctr"/>
            <a:r>
              <a:rPr lang="nl-NL" sz="1050" b="1" kern="0">
                <a:solidFill>
                  <a:srgbClr val="3FBE80"/>
                </a:solidFill>
                <a:latin typeface="Montserrat" panose="00000500000000000000" pitchFamily="2" charset="0"/>
              </a:rPr>
              <a:t>social impact</a:t>
            </a:r>
          </a:p>
        </p:txBody>
      </p:sp>
      <p:sp>
        <p:nvSpPr>
          <p:cNvPr id="33" name="Tekstvak 1107">
            <a:extLst>
              <a:ext uri="{FF2B5EF4-FFF2-40B4-BE49-F238E27FC236}">
                <a16:creationId xmlns:a16="http://schemas.microsoft.com/office/drawing/2014/main" id="{160383AC-BBBB-B770-8B9C-951710A03811}"/>
              </a:ext>
            </a:extLst>
          </p:cNvPr>
          <p:cNvSpPr txBox="1"/>
          <p:nvPr/>
        </p:nvSpPr>
        <p:spPr>
          <a:xfrm>
            <a:off x="5285197" y="4719327"/>
            <a:ext cx="108367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nl-NL" sz="900">
                <a:solidFill>
                  <a:srgbClr val="00B050"/>
                </a:solidFill>
              </a:rPr>
              <a:t>Low</a:t>
            </a:r>
          </a:p>
        </p:txBody>
      </p:sp>
      <p:sp>
        <p:nvSpPr>
          <p:cNvPr id="34" name="Tekstvak 1108">
            <a:extLst>
              <a:ext uri="{FF2B5EF4-FFF2-40B4-BE49-F238E27FC236}">
                <a16:creationId xmlns:a16="http://schemas.microsoft.com/office/drawing/2014/main" id="{2137CEB3-9363-978E-582A-83FAB0B79FBF}"/>
              </a:ext>
            </a:extLst>
          </p:cNvPr>
          <p:cNvSpPr txBox="1"/>
          <p:nvPr/>
        </p:nvSpPr>
        <p:spPr>
          <a:xfrm>
            <a:off x="8445973" y="4723529"/>
            <a:ext cx="108367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nl-NL" sz="900">
                <a:solidFill>
                  <a:srgbClr val="00B050"/>
                </a:solidFill>
              </a:rPr>
              <a:t>High</a:t>
            </a:r>
          </a:p>
        </p:txBody>
      </p:sp>
      <p:sp>
        <p:nvSpPr>
          <p:cNvPr id="35" name="Tekstvak 1109">
            <a:extLst>
              <a:ext uri="{FF2B5EF4-FFF2-40B4-BE49-F238E27FC236}">
                <a16:creationId xmlns:a16="http://schemas.microsoft.com/office/drawing/2014/main" id="{D300CB69-2603-5E56-3D5D-017AF8430A08}"/>
              </a:ext>
            </a:extLst>
          </p:cNvPr>
          <p:cNvSpPr txBox="1"/>
          <p:nvPr/>
        </p:nvSpPr>
        <p:spPr>
          <a:xfrm rot="16200000">
            <a:off x="4935667" y="4380348"/>
            <a:ext cx="108367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nl-NL" sz="900">
                <a:solidFill>
                  <a:srgbClr val="00B050"/>
                </a:solidFill>
              </a:rPr>
              <a:t>Low</a:t>
            </a:r>
          </a:p>
        </p:txBody>
      </p:sp>
      <p:sp>
        <p:nvSpPr>
          <p:cNvPr id="36" name="Tekstvak 1110">
            <a:extLst>
              <a:ext uri="{FF2B5EF4-FFF2-40B4-BE49-F238E27FC236}">
                <a16:creationId xmlns:a16="http://schemas.microsoft.com/office/drawing/2014/main" id="{68356739-E574-4C3E-94C7-B933D79AC242}"/>
              </a:ext>
            </a:extLst>
          </p:cNvPr>
          <p:cNvSpPr txBox="1"/>
          <p:nvPr/>
        </p:nvSpPr>
        <p:spPr>
          <a:xfrm rot="16200000">
            <a:off x="4939292" y="1280903"/>
            <a:ext cx="108367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nl-NL" sz="900">
                <a:solidFill>
                  <a:srgbClr val="00B050"/>
                </a:solidFill>
              </a:rPr>
              <a:t>High</a:t>
            </a:r>
          </a:p>
        </p:txBody>
      </p:sp>
      <p:sp>
        <p:nvSpPr>
          <p:cNvPr id="37" name="Tekstvak 1112">
            <a:extLst>
              <a:ext uri="{FF2B5EF4-FFF2-40B4-BE49-F238E27FC236}">
                <a16:creationId xmlns:a16="http://schemas.microsoft.com/office/drawing/2014/main" id="{B3EC0F9C-D364-2024-6EC9-96AA1F0FA4A6}"/>
              </a:ext>
            </a:extLst>
          </p:cNvPr>
          <p:cNvSpPr txBox="1"/>
          <p:nvPr/>
        </p:nvSpPr>
        <p:spPr>
          <a:xfrm>
            <a:off x="7719614" y="1773675"/>
            <a:ext cx="117957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>
                <a:solidFill>
                  <a:schemeClr val="tx1">
                    <a:lumMod val="40000"/>
                    <a:lumOff val="60000"/>
                  </a:schemeClr>
                </a:solidFill>
                <a:latin typeface="Montserrat" panose="00000500000000000000" pitchFamily="2" charset="0"/>
              </a:rPr>
              <a:t>Strategic </a:t>
            </a:r>
          </a:p>
          <a:p>
            <a:pPr algn="ctr"/>
            <a:r>
              <a:rPr lang="en-GB" sz="1100" b="1">
                <a:solidFill>
                  <a:schemeClr val="tx1">
                    <a:lumMod val="40000"/>
                    <a:lumOff val="60000"/>
                  </a:schemeClr>
                </a:solidFill>
                <a:latin typeface="Montserrat" panose="00000500000000000000" pitchFamily="2" charset="0"/>
              </a:rPr>
              <a:t>asset</a:t>
            </a:r>
          </a:p>
        </p:txBody>
      </p:sp>
      <p:sp>
        <p:nvSpPr>
          <p:cNvPr id="38" name="Tekstvak 1113">
            <a:extLst>
              <a:ext uri="{FF2B5EF4-FFF2-40B4-BE49-F238E27FC236}">
                <a16:creationId xmlns:a16="http://schemas.microsoft.com/office/drawing/2014/main" id="{E17FA623-CBB7-5E33-7D0C-3831B62BD3B5}"/>
              </a:ext>
            </a:extLst>
          </p:cNvPr>
          <p:cNvSpPr txBox="1"/>
          <p:nvPr/>
        </p:nvSpPr>
        <p:spPr>
          <a:xfrm>
            <a:off x="5891915" y="1782818"/>
            <a:ext cx="117957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>
                <a:solidFill>
                  <a:schemeClr val="tx1">
                    <a:lumMod val="40000"/>
                    <a:lumOff val="60000"/>
                  </a:schemeClr>
                </a:solidFill>
                <a:latin typeface="Montserrat" panose="00000500000000000000" pitchFamily="2" charset="0"/>
              </a:rPr>
              <a:t>Taking responsibility</a:t>
            </a:r>
          </a:p>
        </p:txBody>
      </p:sp>
      <p:sp>
        <p:nvSpPr>
          <p:cNvPr id="39" name="Tekstvak 1114">
            <a:extLst>
              <a:ext uri="{FF2B5EF4-FFF2-40B4-BE49-F238E27FC236}">
                <a16:creationId xmlns:a16="http://schemas.microsoft.com/office/drawing/2014/main" id="{F50D7459-5B5B-EA10-BBDE-A0B18C68E60F}"/>
              </a:ext>
            </a:extLst>
          </p:cNvPr>
          <p:cNvSpPr txBox="1"/>
          <p:nvPr/>
        </p:nvSpPr>
        <p:spPr>
          <a:xfrm>
            <a:off x="5901059" y="3600511"/>
            <a:ext cx="117957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>
                <a:solidFill>
                  <a:schemeClr val="tx1">
                    <a:lumMod val="40000"/>
                    <a:lumOff val="60000"/>
                  </a:schemeClr>
                </a:solidFill>
                <a:latin typeface="Montserrat" panose="00000500000000000000" pitchFamily="2" charset="0"/>
              </a:rPr>
              <a:t>Non-</a:t>
            </a:r>
          </a:p>
          <a:p>
            <a:pPr algn="ctr"/>
            <a:r>
              <a:rPr lang="en-GB" sz="1100" b="1">
                <a:solidFill>
                  <a:schemeClr val="tx1">
                    <a:lumMod val="40000"/>
                    <a:lumOff val="60000"/>
                  </a:schemeClr>
                </a:solidFill>
                <a:latin typeface="Montserrat" panose="00000500000000000000" pitchFamily="2" charset="0"/>
              </a:rPr>
              <a:t>material</a:t>
            </a:r>
          </a:p>
        </p:txBody>
      </p:sp>
      <p:sp>
        <p:nvSpPr>
          <p:cNvPr id="40" name="Tekstvak 1115">
            <a:extLst>
              <a:ext uri="{FF2B5EF4-FFF2-40B4-BE49-F238E27FC236}">
                <a16:creationId xmlns:a16="http://schemas.microsoft.com/office/drawing/2014/main" id="{1DC258F3-4E18-87B4-7811-5930AA5020E5}"/>
              </a:ext>
            </a:extLst>
          </p:cNvPr>
          <p:cNvSpPr txBox="1"/>
          <p:nvPr/>
        </p:nvSpPr>
        <p:spPr>
          <a:xfrm>
            <a:off x="7719614" y="3600511"/>
            <a:ext cx="117957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>
                <a:solidFill>
                  <a:schemeClr val="tx1">
                    <a:lumMod val="40000"/>
                    <a:lumOff val="60000"/>
                  </a:schemeClr>
                </a:solidFill>
                <a:latin typeface="Montserrat" panose="00000500000000000000" pitchFamily="2" charset="0"/>
              </a:rPr>
              <a:t>Financial opportunity</a:t>
            </a:r>
          </a:p>
        </p:txBody>
      </p:sp>
      <p:sp>
        <p:nvSpPr>
          <p:cNvPr id="41" name="Tekstvak 9238">
            <a:extLst>
              <a:ext uri="{FF2B5EF4-FFF2-40B4-BE49-F238E27FC236}">
                <a16:creationId xmlns:a16="http://schemas.microsoft.com/office/drawing/2014/main" id="{0B6F3E5C-CC62-E986-7C55-CCF10B74F5B9}"/>
              </a:ext>
            </a:extLst>
          </p:cNvPr>
          <p:cNvSpPr txBox="1"/>
          <p:nvPr/>
        </p:nvSpPr>
        <p:spPr>
          <a:xfrm>
            <a:off x="9861666" y="3100287"/>
            <a:ext cx="132354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0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Klimaatverandering</a:t>
            </a:r>
          </a:p>
        </p:txBody>
      </p:sp>
      <p:sp>
        <p:nvSpPr>
          <p:cNvPr id="42" name="Tekstvak 9239">
            <a:extLst>
              <a:ext uri="{FF2B5EF4-FFF2-40B4-BE49-F238E27FC236}">
                <a16:creationId xmlns:a16="http://schemas.microsoft.com/office/drawing/2014/main" id="{C2C98459-BD96-DCD0-7C39-DF7E52245EE6}"/>
              </a:ext>
            </a:extLst>
          </p:cNvPr>
          <p:cNvSpPr txBox="1"/>
          <p:nvPr/>
        </p:nvSpPr>
        <p:spPr>
          <a:xfrm>
            <a:off x="9862731" y="1874539"/>
            <a:ext cx="14364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Eigen </a:t>
            </a:r>
            <a:r>
              <a:rPr lang="en-GB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medewerkers</a:t>
            </a:r>
            <a:endParaRPr lang="en-GB" sz="1000">
              <a:solidFill>
                <a:schemeClr val="tx1">
                  <a:lumMod val="75000"/>
                  <a:lumOff val="25000"/>
                </a:schemeClr>
              </a:solidFill>
              <a:latin typeface="Montserrat" panose="00000500000000000000" pitchFamily="2" charset="0"/>
            </a:endParaRPr>
          </a:p>
        </p:txBody>
      </p:sp>
      <p:sp>
        <p:nvSpPr>
          <p:cNvPr id="43" name="Tekstvak 9241">
            <a:extLst>
              <a:ext uri="{FF2B5EF4-FFF2-40B4-BE49-F238E27FC236}">
                <a16:creationId xmlns:a16="http://schemas.microsoft.com/office/drawing/2014/main" id="{890C3E46-2121-5A2E-55F6-25BE327A9751}"/>
              </a:ext>
            </a:extLst>
          </p:cNvPr>
          <p:cNvSpPr txBox="1"/>
          <p:nvPr/>
        </p:nvSpPr>
        <p:spPr>
          <a:xfrm>
            <a:off x="9862731" y="1495238"/>
            <a:ext cx="141561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rPr>
              <a:t>Energieverbruik</a:t>
            </a:r>
          </a:p>
        </p:txBody>
      </p:sp>
      <p:sp>
        <p:nvSpPr>
          <p:cNvPr id="44" name="Ovaal 9244">
            <a:extLst>
              <a:ext uri="{FF2B5EF4-FFF2-40B4-BE49-F238E27FC236}">
                <a16:creationId xmlns:a16="http://schemas.microsoft.com/office/drawing/2014/main" id="{4028DB6E-40C3-7A68-0FAC-1154B3738488}"/>
              </a:ext>
            </a:extLst>
          </p:cNvPr>
          <p:cNvSpPr/>
          <p:nvPr/>
        </p:nvSpPr>
        <p:spPr>
          <a:xfrm>
            <a:off x="9418480" y="2187200"/>
            <a:ext cx="332509" cy="332509"/>
          </a:xfrm>
          <a:prstGeom prst="ellipse">
            <a:avLst/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" name="Ovaal 9253">
            <a:extLst>
              <a:ext uri="{FF2B5EF4-FFF2-40B4-BE49-F238E27FC236}">
                <a16:creationId xmlns:a16="http://schemas.microsoft.com/office/drawing/2014/main" id="{D7220E79-8127-BAE9-A737-037E9829AD5F}"/>
              </a:ext>
            </a:extLst>
          </p:cNvPr>
          <p:cNvSpPr/>
          <p:nvPr/>
        </p:nvSpPr>
        <p:spPr>
          <a:xfrm>
            <a:off x="9450463" y="3420619"/>
            <a:ext cx="332509" cy="33250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Tekstvak 9255">
            <a:extLst>
              <a:ext uri="{FF2B5EF4-FFF2-40B4-BE49-F238E27FC236}">
                <a16:creationId xmlns:a16="http://schemas.microsoft.com/office/drawing/2014/main" id="{4EB9187C-F934-335B-F375-9416CAD549EB}"/>
              </a:ext>
            </a:extLst>
          </p:cNvPr>
          <p:cNvSpPr txBox="1"/>
          <p:nvPr/>
        </p:nvSpPr>
        <p:spPr>
          <a:xfrm>
            <a:off x="9359968" y="1048474"/>
            <a:ext cx="1920532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200" b="1">
                <a:solidFill>
                  <a:srgbClr val="00B050"/>
                </a:solidFill>
                <a:latin typeface="Montserrat" panose="00000500000000000000" pitchFamily="2" charset="0"/>
              </a:rPr>
              <a:t>INSIDE OUT</a:t>
            </a:r>
          </a:p>
          <a:p>
            <a:r>
              <a:rPr lang="nl-NL" sz="900" i="1">
                <a:latin typeface="Montserrat" panose="00000500000000000000" pitchFamily="2" charset="0"/>
              </a:rPr>
              <a:t>Impact van SWO op omgeving </a:t>
            </a:r>
          </a:p>
        </p:txBody>
      </p:sp>
      <p:sp>
        <p:nvSpPr>
          <p:cNvPr id="47" name="Tekstvak 9256">
            <a:extLst>
              <a:ext uri="{FF2B5EF4-FFF2-40B4-BE49-F238E27FC236}">
                <a16:creationId xmlns:a16="http://schemas.microsoft.com/office/drawing/2014/main" id="{95E38EC2-66B3-6473-660D-C80A4FAC11D6}"/>
              </a:ext>
            </a:extLst>
          </p:cNvPr>
          <p:cNvSpPr txBox="1"/>
          <p:nvPr/>
        </p:nvSpPr>
        <p:spPr>
          <a:xfrm>
            <a:off x="9360728" y="2650977"/>
            <a:ext cx="1941502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200" b="1">
                <a:latin typeface="Montserrat" panose="00000500000000000000" pitchFamily="2" charset="0"/>
              </a:rPr>
              <a:t>OUTSIDE IN</a:t>
            </a:r>
          </a:p>
          <a:p>
            <a:r>
              <a:rPr lang="nl-NL" sz="900" i="1">
                <a:latin typeface="Montserrat" panose="00000500000000000000" pitchFamily="2" charset="0"/>
              </a:rPr>
              <a:t>Impact van omgeving op SWO</a:t>
            </a:r>
          </a:p>
        </p:txBody>
      </p:sp>
      <p:grpSp>
        <p:nvGrpSpPr>
          <p:cNvPr id="48" name="Groep 9257">
            <a:extLst>
              <a:ext uri="{FF2B5EF4-FFF2-40B4-BE49-F238E27FC236}">
                <a16:creationId xmlns:a16="http://schemas.microsoft.com/office/drawing/2014/main" id="{6015CE64-6E69-C181-512A-1D9E45A05F90}"/>
              </a:ext>
            </a:extLst>
          </p:cNvPr>
          <p:cNvGrpSpPr/>
          <p:nvPr/>
        </p:nvGrpSpPr>
        <p:grpSpPr>
          <a:xfrm>
            <a:off x="9450463" y="3010977"/>
            <a:ext cx="332509" cy="332509"/>
            <a:chOff x="7240989" y="3653625"/>
            <a:chExt cx="332509" cy="332509"/>
          </a:xfrm>
        </p:grpSpPr>
        <p:sp>
          <p:nvSpPr>
            <p:cNvPr id="49" name="Ovaal 9258">
              <a:extLst>
                <a:ext uri="{FF2B5EF4-FFF2-40B4-BE49-F238E27FC236}">
                  <a16:creationId xmlns:a16="http://schemas.microsoft.com/office/drawing/2014/main" id="{BB972429-4B97-B3ED-55D7-C6D8C2DAB9CE}"/>
                </a:ext>
              </a:extLst>
            </p:cNvPr>
            <p:cNvSpPr/>
            <p:nvPr/>
          </p:nvSpPr>
          <p:spPr>
            <a:xfrm>
              <a:off x="7240989" y="3653625"/>
              <a:ext cx="332509" cy="332509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50" name="Picture 4" descr="Climate-Change Icons - Free SVG &amp; PNG Climate-Change Images - Noun Project">
              <a:extLst>
                <a:ext uri="{FF2B5EF4-FFF2-40B4-BE49-F238E27FC236}">
                  <a16:creationId xmlns:a16="http://schemas.microsoft.com/office/drawing/2014/main" id="{9F7D5E3E-A17E-6938-F92D-92D1BE43BB4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76029" y="3705080"/>
              <a:ext cx="257424" cy="2574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1" name="Afbeelding 9260">
            <a:extLst>
              <a:ext uri="{FF2B5EF4-FFF2-40B4-BE49-F238E27FC236}">
                <a16:creationId xmlns:a16="http://schemas.microsoft.com/office/drawing/2014/main" id="{0B34481D-5CB5-75EB-3216-CCBB2E7D755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11497"/>
          <a:stretch/>
        </p:blipFill>
        <p:spPr>
          <a:xfrm>
            <a:off x="8868615" y="1055630"/>
            <a:ext cx="367576" cy="266295"/>
          </a:xfrm>
          <a:prstGeom prst="rect">
            <a:avLst/>
          </a:prstGeom>
        </p:spPr>
      </p:pic>
      <p:grpSp>
        <p:nvGrpSpPr>
          <p:cNvPr id="52" name="Groep 9266">
            <a:extLst>
              <a:ext uri="{FF2B5EF4-FFF2-40B4-BE49-F238E27FC236}">
                <a16:creationId xmlns:a16="http://schemas.microsoft.com/office/drawing/2014/main" id="{9C88654C-903F-9E15-980E-DA45856DF26C}"/>
              </a:ext>
            </a:extLst>
          </p:cNvPr>
          <p:cNvGrpSpPr/>
          <p:nvPr/>
        </p:nvGrpSpPr>
        <p:grpSpPr>
          <a:xfrm>
            <a:off x="9420586" y="1801233"/>
            <a:ext cx="332509" cy="332509"/>
            <a:chOff x="9522107" y="2182912"/>
            <a:chExt cx="332509" cy="332509"/>
          </a:xfrm>
        </p:grpSpPr>
        <p:sp>
          <p:nvSpPr>
            <p:cNvPr id="53" name="Ovaal 9250">
              <a:extLst>
                <a:ext uri="{FF2B5EF4-FFF2-40B4-BE49-F238E27FC236}">
                  <a16:creationId xmlns:a16="http://schemas.microsoft.com/office/drawing/2014/main" id="{200E0671-0F76-A81A-B310-9CB5CD7E55D5}"/>
                </a:ext>
              </a:extLst>
            </p:cNvPr>
            <p:cNvSpPr/>
            <p:nvPr/>
          </p:nvSpPr>
          <p:spPr>
            <a:xfrm>
              <a:off x="9522107" y="2182912"/>
              <a:ext cx="332509" cy="332509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54" name="Picture 6" descr="Diversity - Free miscellaneous icons">
              <a:extLst>
                <a:ext uri="{FF2B5EF4-FFF2-40B4-BE49-F238E27FC236}">
                  <a16:creationId xmlns:a16="http://schemas.microsoft.com/office/drawing/2014/main" id="{EB4009E4-E239-71E1-5F2F-30CD805C0A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58713" y="2219557"/>
              <a:ext cx="255086" cy="2550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5" name="Groep 9268">
            <a:extLst>
              <a:ext uri="{FF2B5EF4-FFF2-40B4-BE49-F238E27FC236}">
                <a16:creationId xmlns:a16="http://schemas.microsoft.com/office/drawing/2014/main" id="{04F9C6A3-8C57-49BB-5FE6-6E8FB9A5E8F5}"/>
              </a:ext>
            </a:extLst>
          </p:cNvPr>
          <p:cNvGrpSpPr/>
          <p:nvPr/>
        </p:nvGrpSpPr>
        <p:grpSpPr>
          <a:xfrm>
            <a:off x="9420586" y="1410864"/>
            <a:ext cx="332509" cy="332509"/>
            <a:chOff x="9522070" y="1351974"/>
            <a:chExt cx="332509" cy="332509"/>
          </a:xfrm>
        </p:grpSpPr>
        <p:sp>
          <p:nvSpPr>
            <p:cNvPr id="56" name="Ovaal 9247">
              <a:extLst>
                <a:ext uri="{FF2B5EF4-FFF2-40B4-BE49-F238E27FC236}">
                  <a16:creationId xmlns:a16="http://schemas.microsoft.com/office/drawing/2014/main" id="{5BB66354-5FCE-EEE7-6F6B-5FE49A716902}"/>
                </a:ext>
              </a:extLst>
            </p:cNvPr>
            <p:cNvSpPr/>
            <p:nvPr/>
          </p:nvSpPr>
          <p:spPr>
            <a:xfrm>
              <a:off x="9522070" y="1351974"/>
              <a:ext cx="332509" cy="332509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57" name="Picture 5" descr="Energy consumption - Free electronics icons">
              <a:extLst>
                <a:ext uri="{FF2B5EF4-FFF2-40B4-BE49-F238E27FC236}">
                  <a16:creationId xmlns:a16="http://schemas.microsoft.com/office/drawing/2014/main" id="{3EA93ECB-8715-1955-8A49-CE92A85FD5C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4088" y="1387873"/>
              <a:ext cx="254075" cy="2540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8" name="Groep 9269">
            <a:extLst>
              <a:ext uri="{FF2B5EF4-FFF2-40B4-BE49-F238E27FC236}">
                <a16:creationId xmlns:a16="http://schemas.microsoft.com/office/drawing/2014/main" id="{31FDB379-6D85-3D88-B564-A16C8A5E9F21}"/>
              </a:ext>
            </a:extLst>
          </p:cNvPr>
          <p:cNvGrpSpPr/>
          <p:nvPr/>
        </p:nvGrpSpPr>
        <p:grpSpPr>
          <a:xfrm>
            <a:off x="8445973" y="2912670"/>
            <a:ext cx="457200" cy="457200"/>
            <a:chOff x="9522070" y="1351974"/>
            <a:chExt cx="332509" cy="332509"/>
          </a:xfrm>
        </p:grpSpPr>
        <p:sp>
          <p:nvSpPr>
            <p:cNvPr id="59" name="Ovaal 9270">
              <a:extLst>
                <a:ext uri="{FF2B5EF4-FFF2-40B4-BE49-F238E27FC236}">
                  <a16:creationId xmlns:a16="http://schemas.microsoft.com/office/drawing/2014/main" id="{36003894-B5B1-07C2-8EC7-14B9CC16CC09}"/>
                </a:ext>
              </a:extLst>
            </p:cNvPr>
            <p:cNvSpPr/>
            <p:nvPr/>
          </p:nvSpPr>
          <p:spPr>
            <a:xfrm>
              <a:off x="9522070" y="1351974"/>
              <a:ext cx="332509" cy="332509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60" name="Picture 5" descr="Energy consumption - Free electronics icons">
              <a:extLst>
                <a:ext uri="{FF2B5EF4-FFF2-40B4-BE49-F238E27FC236}">
                  <a16:creationId xmlns:a16="http://schemas.microsoft.com/office/drawing/2014/main" id="{EB38A8CD-0E8E-AB2E-EC23-9C89C06EB35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64088" y="1387873"/>
              <a:ext cx="254075" cy="2540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1" name="Groep 9272">
            <a:extLst>
              <a:ext uri="{FF2B5EF4-FFF2-40B4-BE49-F238E27FC236}">
                <a16:creationId xmlns:a16="http://schemas.microsoft.com/office/drawing/2014/main" id="{ECB193E1-CF4F-EC1B-3D80-94940811428F}"/>
              </a:ext>
            </a:extLst>
          </p:cNvPr>
          <p:cNvGrpSpPr/>
          <p:nvPr/>
        </p:nvGrpSpPr>
        <p:grpSpPr>
          <a:xfrm>
            <a:off x="6472567" y="2121372"/>
            <a:ext cx="457200" cy="457200"/>
            <a:chOff x="7240989" y="3653625"/>
            <a:chExt cx="332509" cy="332509"/>
          </a:xfrm>
        </p:grpSpPr>
        <p:sp>
          <p:nvSpPr>
            <p:cNvPr id="62" name="Ovaal 9273">
              <a:extLst>
                <a:ext uri="{FF2B5EF4-FFF2-40B4-BE49-F238E27FC236}">
                  <a16:creationId xmlns:a16="http://schemas.microsoft.com/office/drawing/2014/main" id="{7E0E6976-59BE-D130-878C-8E7908EFF6B4}"/>
                </a:ext>
              </a:extLst>
            </p:cNvPr>
            <p:cNvSpPr/>
            <p:nvPr/>
          </p:nvSpPr>
          <p:spPr>
            <a:xfrm>
              <a:off x="7240989" y="3653625"/>
              <a:ext cx="332509" cy="332509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63" name="Picture 4" descr="Climate-Change Icons - Free SVG &amp; PNG Climate-Change Images - Noun Project">
              <a:extLst>
                <a:ext uri="{FF2B5EF4-FFF2-40B4-BE49-F238E27FC236}">
                  <a16:creationId xmlns:a16="http://schemas.microsoft.com/office/drawing/2014/main" id="{4551946D-71D0-25A9-A7BA-F5B081AA6C1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76029" y="3694671"/>
              <a:ext cx="257424" cy="2574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4" name="Groep 9275">
            <a:extLst>
              <a:ext uri="{FF2B5EF4-FFF2-40B4-BE49-F238E27FC236}">
                <a16:creationId xmlns:a16="http://schemas.microsoft.com/office/drawing/2014/main" id="{F96E9FCC-684D-54C9-C74D-7F0FF2EBBB30}"/>
              </a:ext>
            </a:extLst>
          </p:cNvPr>
          <p:cNvGrpSpPr/>
          <p:nvPr/>
        </p:nvGrpSpPr>
        <p:grpSpPr>
          <a:xfrm>
            <a:off x="8493126" y="1350152"/>
            <a:ext cx="457200" cy="457200"/>
            <a:chOff x="9522107" y="2182912"/>
            <a:chExt cx="332509" cy="332509"/>
          </a:xfrm>
        </p:grpSpPr>
        <p:sp>
          <p:nvSpPr>
            <p:cNvPr id="65" name="Ovaal 9276">
              <a:extLst>
                <a:ext uri="{FF2B5EF4-FFF2-40B4-BE49-F238E27FC236}">
                  <a16:creationId xmlns:a16="http://schemas.microsoft.com/office/drawing/2014/main" id="{09FBAA08-B370-65D0-FD8C-B5F9499882DA}"/>
                </a:ext>
              </a:extLst>
            </p:cNvPr>
            <p:cNvSpPr/>
            <p:nvPr/>
          </p:nvSpPr>
          <p:spPr>
            <a:xfrm>
              <a:off x="9522107" y="2182912"/>
              <a:ext cx="332509" cy="332509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66" name="Picture 6" descr="Diversity - Free miscellaneous icons">
              <a:extLst>
                <a:ext uri="{FF2B5EF4-FFF2-40B4-BE49-F238E27FC236}">
                  <a16:creationId xmlns:a16="http://schemas.microsoft.com/office/drawing/2014/main" id="{2E35F7FF-1D26-D393-4E28-3AD8867A31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58713" y="2219557"/>
              <a:ext cx="255086" cy="2550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7" name="Ovaal 9278">
            <a:extLst>
              <a:ext uri="{FF2B5EF4-FFF2-40B4-BE49-F238E27FC236}">
                <a16:creationId xmlns:a16="http://schemas.microsoft.com/office/drawing/2014/main" id="{7748B677-6814-EAE0-2211-7DCD6522978D}"/>
              </a:ext>
            </a:extLst>
          </p:cNvPr>
          <p:cNvSpPr/>
          <p:nvPr/>
        </p:nvSpPr>
        <p:spPr>
          <a:xfrm>
            <a:off x="5775869" y="2886286"/>
            <a:ext cx="457200" cy="457200"/>
          </a:xfrm>
          <a:prstGeom prst="ellipse">
            <a:avLst/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8" name="Ovaal 9279">
            <a:extLst>
              <a:ext uri="{FF2B5EF4-FFF2-40B4-BE49-F238E27FC236}">
                <a16:creationId xmlns:a16="http://schemas.microsoft.com/office/drawing/2014/main" id="{FC8EB72B-BFFE-8658-0028-9F880FCDCA65}"/>
              </a:ext>
            </a:extLst>
          </p:cNvPr>
          <p:cNvSpPr/>
          <p:nvPr/>
        </p:nvSpPr>
        <p:spPr>
          <a:xfrm>
            <a:off x="7415090" y="4197512"/>
            <a:ext cx="457200" cy="45720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4EAFAE87-0A7D-B93B-6212-4D022A2DAB7B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6" name="Picture 2" descr="Nationale Coalitie Duurzame Digitalisering">
            <a:extLst>
              <a:ext uri="{FF2B5EF4-FFF2-40B4-BE49-F238E27FC236}">
                <a16:creationId xmlns:a16="http://schemas.microsoft.com/office/drawing/2014/main" id="{45AD4427-108F-22CA-DD8B-0C89B84E3A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9531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2">
            <a:extLst>
              <a:ext uri="{FF2B5EF4-FFF2-40B4-BE49-F238E27FC236}">
                <a16:creationId xmlns:a16="http://schemas.microsoft.com/office/drawing/2014/main" id="{7731A4AE-30DF-0604-08F0-06657DB24E30}"/>
              </a:ext>
            </a:extLst>
          </p:cNvPr>
          <p:cNvSpPr/>
          <p:nvPr/>
        </p:nvSpPr>
        <p:spPr>
          <a:xfrm>
            <a:off x="244" y="5804413"/>
            <a:ext cx="11520488" cy="67558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marL="0" algn="l" defTabSz="863959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1979" algn="l" defTabSz="863959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3959" algn="l" defTabSz="863959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5938" algn="l" defTabSz="863959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7917" algn="l" defTabSz="863959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9896" algn="l" defTabSz="863959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1875" algn="l" defTabSz="863959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3854" algn="l" defTabSz="863959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5833" algn="l" defTabSz="863959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err="1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533073BA-6013-1AF3-7218-93A97C22B9DF}"/>
              </a:ext>
            </a:extLst>
          </p:cNvPr>
          <p:cNvSpPr/>
          <p:nvPr/>
        </p:nvSpPr>
        <p:spPr>
          <a:xfrm>
            <a:off x="-10428" y="-7990"/>
            <a:ext cx="4694828" cy="5812403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3"/>
              </a:buClr>
            </a:pPr>
            <a:endParaRPr lang="en-GB" sz="900" err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TextBox 80">
            <a:extLst>
              <a:ext uri="{FF2B5EF4-FFF2-40B4-BE49-F238E27FC236}">
                <a16:creationId xmlns:a16="http://schemas.microsoft.com/office/drawing/2014/main" id="{E4B56F38-D319-1E33-83EB-0F04349BE264}"/>
              </a:ext>
            </a:extLst>
          </p:cNvPr>
          <p:cNvSpPr txBox="1"/>
          <p:nvPr/>
        </p:nvSpPr>
        <p:spPr>
          <a:xfrm>
            <a:off x="194963" y="973568"/>
            <a:ext cx="4489227" cy="4985980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 defTabSz="914354">
              <a:defRPr/>
            </a:pPr>
            <a:r>
              <a:rPr lang="nl-NL" sz="1600" b="1" kern="0" noProof="1">
                <a:solidFill>
                  <a:srgbClr val="F3FBF7"/>
                </a:solidFill>
                <a:latin typeface="Montserrat"/>
                <a:ea typeface="+mn-lt"/>
                <a:cs typeface="+mn-lt"/>
              </a:rPr>
              <a:t>STAP 1: </a:t>
            </a:r>
            <a:r>
              <a:rPr lang="nl-NL" sz="1600" b="1" kern="0" noProof="1">
                <a:solidFill>
                  <a:srgbClr val="F3FBF7"/>
                </a:solidFill>
                <a:ea typeface="+mn-lt"/>
                <a:cs typeface="+mn-lt"/>
              </a:rPr>
              <a:t>De Start van CSRD</a:t>
            </a:r>
            <a:br>
              <a:rPr lang="nl-NL" sz="1600" b="1" kern="0" noProof="1">
                <a:latin typeface="Montserrat" panose="00000500000000000000" pitchFamily="2" charset="0"/>
                <a:ea typeface="+mn-lt"/>
                <a:cs typeface="+mn-lt"/>
              </a:rPr>
            </a:br>
            <a:r>
              <a:rPr lang="nl-NL" sz="2400" b="1" kern="0" noProof="1">
                <a:solidFill>
                  <a:srgbClr val="F3FBF7"/>
                </a:solidFill>
                <a:latin typeface="Montserrat"/>
                <a:ea typeface="+mn-lt"/>
                <a:cs typeface="+mn-lt"/>
              </a:rPr>
              <a:t>Waardeketen</a:t>
            </a:r>
          </a:p>
          <a:p>
            <a:pPr defTabSz="914354"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</a:rPr>
              <a:t>Creëer inzicht in de waardeketen van de organisatie. Om goed te kunnen beoordelen welke duurzaamheidsthema's voor de organisatie van belang zijn moet je op strategisch niveau je organisatie inkaart hebben.</a:t>
            </a:r>
          </a:p>
          <a:p>
            <a:pPr defTabSz="914354">
              <a:defRPr/>
            </a:pPr>
            <a:endParaRPr lang="nl-NL" sz="1400" kern="0" noProof="1">
              <a:solidFill>
                <a:srgbClr val="F3FBF7"/>
              </a:solidFill>
              <a:latin typeface="Montserrat"/>
              <a:ea typeface="Calibri"/>
              <a:cs typeface="Calibri"/>
            </a:endParaRPr>
          </a:p>
          <a:p>
            <a:pPr marL="285750" indent="-285750" defTabSz="914354">
              <a:buFont typeface="Arial"/>
              <a:buChar char="•"/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  <a:ea typeface="Calibri"/>
                <a:cs typeface="Calibri"/>
              </a:rPr>
              <a:t>Doorleven van je waarde propositie en strategie;</a:t>
            </a:r>
          </a:p>
          <a:p>
            <a:pPr marL="285750" indent="-285750" defTabSz="914354">
              <a:buFont typeface="Arial"/>
              <a:buChar char="•"/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  <a:ea typeface="Calibri"/>
                <a:cs typeface="Calibri"/>
              </a:rPr>
              <a:t>In kaart brengen van je stakeholders;</a:t>
            </a:r>
          </a:p>
          <a:p>
            <a:pPr marL="285750" indent="-285750" defTabSz="914354">
              <a:buFont typeface="Arial"/>
              <a:buChar char="•"/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  <a:ea typeface="Calibri"/>
                <a:cs typeface="Calibri"/>
              </a:rPr>
              <a:t>Inzicht in upstream en dowstream, keten emisies.</a:t>
            </a:r>
          </a:p>
          <a:p>
            <a:pPr marL="285750" indent="-285750" defTabSz="914354">
              <a:buFont typeface="Arial"/>
              <a:buChar char="•"/>
              <a:defRPr/>
            </a:pPr>
            <a:endParaRPr lang="nl-NL" sz="1400" kern="0" noProof="1">
              <a:solidFill>
                <a:srgbClr val="F3FBF7"/>
              </a:solidFill>
              <a:latin typeface="Montserrat"/>
              <a:ea typeface="Calibri"/>
              <a:cs typeface="Calibri"/>
            </a:endParaRPr>
          </a:p>
          <a:p>
            <a:pPr defTabSz="914354">
              <a:defRPr/>
            </a:pPr>
            <a:endParaRPr lang="nl-NL" sz="1400" kern="0" noProof="1">
              <a:solidFill>
                <a:srgbClr val="F3FBF7"/>
              </a:solidFill>
              <a:latin typeface="Montserrat"/>
              <a:cs typeface="Calibri"/>
            </a:endParaRPr>
          </a:p>
          <a:p>
            <a:pPr defTabSz="914354">
              <a:defRPr/>
            </a:pPr>
            <a:endParaRPr lang="nl-NL" sz="1400" kern="0" noProof="1">
              <a:solidFill>
                <a:srgbClr val="F3FBF7"/>
              </a:solidFill>
              <a:latin typeface="Montserrat"/>
              <a:cs typeface="Calibri"/>
            </a:endParaRPr>
          </a:p>
          <a:p>
            <a:pPr defTabSz="914354">
              <a:defRPr/>
            </a:pPr>
            <a:endParaRPr lang="nl-NL" sz="1400" kern="0" noProof="1">
              <a:solidFill>
                <a:srgbClr val="F3FBF7"/>
              </a:solidFill>
              <a:latin typeface="Montserrat"/>
              <a:cs typeface="Calibri"/>
            </a:endParaRPr>
          </a:p>
          <a:p>
            <a:pPr defTabSz="914354">
              <a:defRPr/>
            </a:pPr>
            <a:endParaRPr lang="nl-NL" sz="2400" b="1" kern="0" noProof="1">
              <a:solidFill>
                <a:srgbClr val="F3FBF7"/>
              </a:solidFill>
              <a:latin typeface="Montserrat"/>
              <a:cs typeface="Calibri"/>
            </a:endParaRPr>
          </a:p>
          <a:p>
            <a:pPr defTabSz="914354">
              <a:defRPr/>
            </a:pPr>
            <a:endParaRPr lang="nl-NL" sz="1600" b="1" kern="0" noProof="1">
              <a:solidFill>
                <a:srgbClr val="F3FBF7"/>
              </a:solidFill>
              <a:latin typeface="Calibri"/>
              <a:cs typeface="Calibri"/>
            </a:endParaRPr>
          </a:p>
          <a:p>
            <a:pPr marL="285750" indent="-285750" defTabSz="914354">
              <a:buFont typeface="Arial" panose="020B0604020202020204" pitchFamily="34" charset="0"/>
              <a:buChar char="•"/>
              <a:defRPr/>
            </a:pPr>
            <a:endParaRPr lang="nl-NL" sz="1400" kern="0" noProof="1">
              <a:solidFill>
                <a:srgbClr val="F3FBF7"/>
              </a:solidFill>
              <a:latin typeface="Montserrat" panose="00000500000000000000" pitchFamily="2" charset="0"/>
            </a:endParaRPr>
          </a:p>
          <a:p>
            <a:pPr marL="285750" indent="-285750" defTabSz="914354">
              <a:buFont typeface="Arial" panose="020B0604020202020204" pitchFamily="34" charset="0"/>
              <a:buChar char="•"/>
              <a:defRPr/>
            </a:pPr>
            <a:endParaRPr lang="nl-NL" sz="1400" kern="0" noProof="1">
              <a:solidFill>
                <a:srgbClr val="F3FBF7"/>
              </a:solidFill>
              <a:latin typeface="Montserrat" panose="00000500000000000000" pitchFamily="2" charset="0"/>
            </a:endParaRPr>
          </a:p>
        </p:txBody>
      </p:sp>
      <p:sp>
        <p:nvSpPr>
          <p:cNvPr id="14" name="Tijdelijke aanduiding voor dianummer 1">
            <a:extLst>
              <a:ext uri="{FF2B5EF4-FFF2-40B4-BE49-F238E27FC236}">
                <a16:creationId xmlns:a16="http://schemas.microsoft.com/office/drawing/2014/main" id="{88C0960E-C636-27DF-1C6B-EE1287961A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688" y="6119725"/>
            <a:ext cx="431800" cy="360362"/>
          </a:xfrm>
        </p:spPr>
        <p:txBody>
          <a:bodyPr/>
          <a:lstStyle/>
          <a:p>
            <a:pPr marL="0" marR="0" lvl="0" indent="0" algn="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82D01A-ED25-4F30-894A-E32B487BCBA5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F4F6F8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pPr marL="0" marR="0" lvl="0" indent="0" algn="r" defTabSz="86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F4F6F8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96AC8704-6E1D-1429-198B-B2AF0E1D5671}"/>
              </a:ext>
            </a:extLst>
          </p:cNvPr>
          <p:cNvSpPr txBox="1">
            <a:spLocks/>
          </p:cNvSpPr>
          <p:nvPr/>
        </p:nvSpPr>
        <p:spPr>
          <a:xfrm>
            <a:off x="125479" y="5917710"/>
            <a:ext cx="10296239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BeYOND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4EAFAE87-0A7D-B93B-6212-4D022A2DAB7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6" name="Picture 2" descr="Nationale Coalitie Duurzame Digitalisering">
            <a:extLst>
              <a:ext uri="{FF2B5EF4-FFF2-40B4-BE49-F238E27FC236}">
                <a16:creationId xmlns:a16="http://schemas.microsoft.com/office/drawing/2014/main" id="{45AD4427-108F-22CA-DD8B-0C89B84E3A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Afbeelding 1" descr="Afbeelding met tekst, schermopname, diagram, Lettertype&#10;&#10;Automatisch gegenereerde beschrijving">
            <a:extLst>
              <a:ext uri="{FF2B5EF4-FFF2-40B4-BE49-F238E27FC236}">
                <a16:creationId xmlns:a16="http://schemas.microsoft.com/office/drawing/2014/main" id="{F3589A17-8672-8521-9907-50DA65FC21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36160" y="1856644"/>
            <a:ext cx="6466329" cy="2081101"/>
          </a:xfrm>
          <a:prstGeom prst="rect">
            <a:avLst/>
          </a:prstGeom>
        </p:spPr>
      </p:pic>
      <p:pic>
        <p:nvPicPr>
          <p:cNvPr id="4" name="Afbeelding 3" descr="Ministerie van Justitie en Veiligheid over het GRC-tooling project">
            <a:extLst>
              <a:ext uri="{FF2B5EF4-FFF2-40B4-BE49-F238E27FC236}">
                <a16:creationId xmlns:a16="http://schemas.microsoft.com/office/drawing/2014/main" id="{332995D4-C6CD-B0B3-8C66-DBA5A92110D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91188" y="3688329"/>
            <a:ext cx="1122879" cy="342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815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2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33073BA-6013-1AF3-7218-93A97C22B9DF}"/>
              </a:ext>
            </a:extLst>
          </p:cNvPr>
          <p:cNvSpPr/>
          <p:nvPr/>
        </p:nvSpPr>
        <p:spPr>
          <a:xfrm>
            <a:off x="-17020" y="-8079"/>
            <a:ext cx="4694828" cy="5812403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3"/>
              </a:buClr>
            </a:pPr>
            <a:endParaRPr lang="en-GB" sz="900" err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TextBox 80">
            <a:extLst>
              <a:ext uri="{FF2B5EF4-FFF2-40B4-BE49-F238E27FC236}">
                <a16:creationId xmlns:a16="http://schemas.microsoft.com/office/drawing/2014/main" id="{E4B56F38-D319-1E33-83EB-0F04349BE264}"/>
              </a:ext>
            </a:extLst>
          </p:cNvPr>
          <p:cNvSpPr txBox="1"/>
          <p:nvPr/>
        </p:nvSpPr>
        <p:spPr>
          <a:xfrm>
            <a:off x="188250" y="220239"/>
            <a:ext cx="4489227" cy="6032421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 defTabSz="914354">
              <a:defRPr/>
            </a:pPr>
            <a:r>
              <a:rPr lang="nl-NL" sz="1600" b="1" kern="0" noProof="1">
                <a:solidFill>
                  <a:srgbClr val="F3FBF7"/>
                </a:solidFill>
                <a:latin typeface="Montserrat"/>
                <a:ea typeface="+mn-lt"/>
                <a:cs typeface="+mn-lt"/>
              </a:rPr>
              <a:t>STAP 1: </a:t>
            </a:r>
            <a:r>
              <a:rPr lang="nl-NL" sz="1600" b="1" kern="0" noProof="1">
                <a:solidFill>
                  <a:srgbClr val="F3FBF7"/>
                </a:solidFill>
                <a:ea typeface="+mn-lt"/>
                <a:cs typeface="+mn-lt"/>
              </a:rPr>
              <a:t>De Start van CSRD</a:t>
            </a:r>
            <a:br>
              <a:rPr lang="nl-NL" sz="1600" b="1" kern="0" noProof="1">
                <a:latin typeface="Montserrat" panose="00000500000000000000" pitchFamily="2" charset="0"/>
                <a:ea typeface="+mn-lt"/>
                <a:cs typeface="+mn-lt"/>
              </a:rPr>
            </a:br>
            <a:r>
              <a:rPr lang="nl-NL" sz="2400" b="1" kern="0" noProof="1">
                <a:solidFill>
                  <a:srgbClr val="F3FBF7"/>
                </a:solidFill>
                <a:latin typeface="Montserrat"/>
                <a:ea typeface="+mn-lt"/>
                <a:cs typeface="+mn-lt"/>
              </a:rPr>
              <a:t>Dubbele materialiteitsanalyse </a:t>
            </a:r>
            <a:endParaRPr lang="nl-NL" sz="2400" b="1" kern="0" noProof="1">
              <a:solidFill>
                <a:srgbClr val="F3FBF7"/>
              </a:solidFill>
              <a:latin typeface="Montserrat"/>
              <a:cs typeface="Calibri"/>
            </a:endParaRPr>
          </a:p>
          <a:p>
            <a:pPr marL="285750" indent="-285750" defTabSz="914354">
              <a:buFont typeface="Arial" panose="020B0604020202020204" pitchFamily="34" charset="0"/>
              <a:buChar char="•"/>
              <a:defRPr/>
            </a:pPr>
            <a:endParaRPr lang="nl-NL" sz="1400" kern="0" noProof="1">
              <a:solidFill>
                <a:srgbClr val="F3FBF7"/>
              </a:solidFill>
              <a:latin typeface="Montserrat"/>
            </a:endParaRPr>
          </a:p>
          <a:p>
            <a:pPr marL="285750" indent="-285750" defTabSz="914354">
              <a:buFont typeface="Arial" panose="020B0604020202020204" pitchFamily="34" charset="0"/>
              <a:buChar char="•"/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</a:rPr>
              <a:t>Doe een self-assessment of quickscan en bepaal de materiële ESG topics voor jouw organisatie in jouw keten in dialoog met stakeholders</a:t>
            </a:r>
            <a:endParaRPr lang="nl-NL" sz="1400" kern="0">
              <a:solidFill>
                <a:srgbClr val="F3FBF7"/>
              </a:solidFill>
              <a:latin typeface="Montserrat"/>
            </a:endParaRPr>
          </a:p>
          <a:p>
            <a:pPr marL="285750" indent="-285750" defTabSz="914354">
              <a:buFont typeface="Arial" panose="020B0604020202020204" pitchFamily="34" charset="0"/>
              <a:buChar char="•"/>
              <a:defRPr/>
            </a:pPr>
            <a:endParaRPr lang="nl-NL" sz="1400" kern="0" noProof="1">
              <a:solidFill>
                <a:srgbClr val="F3FBF7"/>
              </a:solidFill>
              <a:latin typeface="Montserrat"/>
            </a:endParaRPr>
          </a:p>
          <a:p>
            <a:pPr marL="285750" indent="-285750" defTabSz="914354">
              <a:buFont typeface="Arial" panose="020B0604020202020204" pitchFamily="34" charset="0"/>
              <a:buChar char="•"/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</a:rPr>
              <a:t>Gebruik hierbij ondersteunende tooling die transparantie meebrengt. Workflow waarbij je topics scoort op:</a:t>
            </a:r>
          </a:p>
          <a:p>
            <a:pPr marL="717550" lvl="1" indent="-285750" defTabSz="914354">
              <a:buFont typeface="Courier New" panose="020B0604020202020204" pitchFamily="34" charset="0"/>
              <a:buChar char="o"/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</a:rPr>
              <a:t>Inside Out, Impact Materialiteit: Schaal * Scope * Herstelbaarheid x waarschijnlijkheid;</a:t>
            </a:r>
          </a:p>
          <a:p>
            <a:pPr marL="717550" lvl="1" indent="-285750" defTabSz="914354">
              <a:buFont typeface="Courier New" panose="020B0604020202020204" pitchFamily="34" charset="0"/>
              <a:buChar char="o"/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</a:rPr>
              <a:t>Outside In, Financial Impact: Omvang * waarschijnlijkheid;</a:t>
            </a:r>
          </a:p>
          <a:p>
            <a:pPr marL="717550" lvl="1" indent="-285750" defTabSz="914354">
              <a:buFont typeface="Courier New" panose="020B0604020202020204" pitchFamily="34" charset="0"/>
              <a:buChar char="o"/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</a:rPr>
              <a:t>Geef goede argumentatie bij onderwerpen die out-of-scope zijn, in bijzonder Klimaatverandering;</a:t>
            </a:r>
          </a:p>
          <a:p>
            <a:pPr marL="717550" lvl="1" indent="-285750" defTabSz="914354">
              <a:buFont typeface="Courier New" panose="020B0604020202020204" pitchFamily="34" charset="0"/>
              <a:buChar char="o"/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</a:rPr>
              <a:t>We praten in kansen en risico's.</a:t>
            </a:r>
          </a:p>
          <a:p>
            <a:pPr marL="717550" lvl="1" indent="-285750" defTabSz="914354">
              <a:buFont typeface="Courier New" panose="020B0604020202020204" pitchFamily="34" charset="0"/>
              <a:buChar char="o"/>
              <a:defRPr/>
            </a:pPr>
            <a:endParaRPr lang="nl-NL" sz="1400" kern="0" noProof="1">
              <a:solidFill>
                <a:srgbClr val="F3FBF7"/>
              </a:solidFill>
              <a:latin typeface="Montserrat"/>
            </a:endParaRPr>
          </a:p>
          <a:p>
            <a:pPr marL="285750" indent="-285750" defTabSz="914354">
              <a:buFont typeface="Arial" panose="020B0604020202020204" pitchFamily="34" charset="0"/>
              <a:buChar char="•"/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</a:rPr>
              <a:t>Insiders information: Gemiddeld Nederland heeft E1 en S1 als materieel topic</a:t>
            </a:r>
          </a:p>
          <a:p>
            <a:pPr marL="717550" lvl="1" indent="-285750" defTabSz="914354">
              <a:buFont typeface="Courier New" panose="020B0604020202020204" pitchFamily="34" charset="0"/>
              <a:buChar char="o"/>
              <a:defRPr/>
            </a:pPr>
            <a:endParaRPr lang="nl-NL" sz="1400" kern="0" noProof="1">
              <a:solidFill>
                <a:srgbClr val="F3FBF7"/>
              </a:solidFill>
              <a:latin typeface="Montserrat"/>
            </a:endParaRPr>
          </a:p>
          <a:p>
            <a:pPr marL="285750" indent="-285750" defTabSz="914354">
              <a:buFont typeface="Arial" panose="020B0604020202020204" pitchFamily="34" charset="0"/>
              <a:buChar char="•"/>
              <a:defRPr/>
            </a:pPr>
            <a:endParaRPr lang="nl-NL" sz="1400" kern="0" noProof="1">
              <a:solidFill>
                <a:srgbClr val="F3FBF7"/>
              </a:solidFill>
              <a:latin typeface="Montserrat"/>
            </a:endParaRP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A97FFEF0-423F-20C4-D679-36EF8282AE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688" y="6119725"/>
            <a:ext cx="431800" cy="360362"/>
          </a:xfrm>
        </p:spPr>
        <p:txBody>
          <a:bodyPr/>
          <a:lstStyle/>
          <a:p>
            <a:pPr marL="0" marR="0" lvl="0" indent="0" algn="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82D01A-ED25-4F30-894A-E32B487BCBA5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F4F6F8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pPr marL="0" marR="0" lvl="0" indent="0" algn="r" defTabSz="86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F4F6F8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7555E42-D62D-36AB-A76F-B3D759FFFCE0}"/>
              </a:ext>
            </a:extLst>
          </p:cNvPr>
          <p:cNvGrpSpPr/>
          <p:nvPr/>
        </p:nvGrpSpPr>
        <p:grpSpPr>
          <a:xfrm>
            <a:off x="244" y="5804413"/>
            <a:ext cx="11520488" cy="675586"/>
            <a:chOff x="244" y="5804413"/>
            <a:chExt cx="11520488" cy="675586"/>
          </a:xfrm>
        </p:grpSpPr>
        <p:sp>
          <p:nvSpPr>
            <p:cNvPr id="3" name="Rechthoek 2">
              <a:extLst>
                <a:ext uri="{FF2B5EF4-FFF2-40B4-BE49-F238E27FC236}">
                  <a16:creationId xmlns:a16="http://schemas.microsoft.com/office/drawing/2014/main" id="{038CD4A0-4D08-BE4D-7DD7-77856FFF3133}"/>
                </a:ext>
              </a:extLst>
            </p:cNvPr>
            <p:cNvSpPr/>
            <p:nvPr/>
          </p:nvSpPr>
          <p:spPr>
            <a:xfrm>
              <a:off x="244" y="5804413"/>
              <a:ext cx="11520488" cy="675586"/>
            </a:xfrm>
            <a:prstGeom prst="rect">
              <a:avLst/>
            </a:prstGeom>
            <a:solidFill>
              <a:srgbClr val="3FBE80"/>
            </a:solidFill>
            <a:ln w="15875" cap="rnd">
              <a:noFill/>
              <a:round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6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AC300"/>
                </a:buClr>
                <a:buSzTx/>
                <a:buFontTx/>
                <a:buNone/>
                <a:tabLst/>
                <a:defRPr/>
              </a:pPr>
              <a:endParaRPr kumimoji="0" lang="en-GB" sz="900" b="0" i="0" u="none" strike="noStrike" kern="1200" cap="none" spc="0" normalizeH="0" baseline="0" noProof="0" err="1">
                <a:ln>
                  <a:noFill/>
                </a:ln>
                <a:solidFill>
                  <a:srgbClr val="555C6B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" name="Title 1">
              <a:extLst>
                <a:ext uri="{FF2B5EF4-FFF2-40B4-BE49-F238E27FC236}">
                  <a16:creationId xmlns:a16="http://schemas.microsoft.com/office/drawing/2014/main" id="{37E8CA2A-0C3F-1301-AD42-6B40F8DD2E47}"/>
                </a:ext>
              </a:extLst>
            </p:cNvPr>
            <p:cNvSpPr txBox="1">
              <a:spLocks/>
            </p:cNvSpPr>
            <p:nvPr/>
          </p:nvSpPr>
          <p:spPr>
            <a:xfrm>
              <a:off x="125479" y="5917710"/>
              <a:ext cx="10296239" cy="461665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algn="l" defTabSz="914354" rtl="0" eaLnBrk="1" latinLnBrk="0" hangingPunct="1">
                <a:spcBef>
                  <a:spcPct val="0"/>
                </a:spcBef>
                <a:buNone/>
                <a:defRPr lang="en-US" sz="4000" b="1" kern="1200" cap="all" normalizeH="0" baseline="0">
                  <a:solidFill>
                    <a:srgbClr val="2F3A4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2400" b="1" i="0" u="none" strike="noStrike" kern="1200" cap="all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"/>
                  <a:ea typeface="Open Sans"/>
                  <a:cs typeface="Open Sans"/>
                </a:rPr>
                <a:t>CSRD BeYOND COMPLIANCE </a:t>
              </a:r>
              <a:endParaRPr kumimoji="0" lang="nl-NL" sz="32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pic>
        <p:nvPicPr>
          <p:cNvPr id="5" name="Afbeelding 4">
            <a:extLst>
              <a:ext uri="{FF2B5EF4-FFF2-40B4-BE49-F238E27FC236}">
                <a16:creationId xmlns:a16="http://schemas.microsoft.com/office/drawing/2014/main" id="{D9D9FF3D-0496-490D-F8F3-A6C6B9D6282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10" name="Picture 2" descr="Nationale Coalitie Duurzame Digitalisering">
            <a:extLst>
              <a:ext uri="{FF2B5EF4-FFF2-40B4-BE49-F238E27FC236}">
                <a16:creationId xmlns:a16="http://schemas.microsoft.com/office/drawing/2014/main" id="{AB16E9BA-5FB8-CA8B-A8A0-87A8F2171B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Afbeelding 14" descr="Afbeelding met tekst, schermopname, nummer, Lettertype&#10;&#10;Automatisch gegenereerde beschrijving">
            <a:extLst>
              <a:ext uri="{FF2B5EF4-FFF2-40B4-BE49-F238E27FC236}">
                <a16:creationId xmlns:a16="http://schemas.microsoft.com/office/drawing/2014/main" id="{EECF418B-B7BB-0C8D-8383-46047D379C4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19266" y="1488349"/>
            <a:ext cx="6483967" cy="2821635"/>
          </a:xfrm>
          <a:prstGeom prst="rect">
            <a:avLst/>
          </a:prstGeom>
        </p:spPr>
      </p:pic>
      <p:pic>
        <p:nvPicPr>
          <p:cNvPr id="4" name="Afbeelding 3" descr="Afbeelding met tekst, diagram, lijn, schermopname&#10;&#10;Automatisch gegenereerde beschrijving">
            <a:extLst>
              <a:ext uri="{FF2B5EF4-FFF2-40B4-BE49-F238E27FC236}">
                <a16:creationId xmlns:a16="http://schemas.microsoft.com/office/drawing/2014/main" id="{23BFC8CD-0DFD-F8F9-2CC6-539D25BBC53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18903" y="1616465"/>
            <a:ext cx="6670494" cy="2654775"/>
          </a:xfrm>
          <a:prstGeom prst="rect">
            <a:avLst/>
          </a:prstGeom>
        </p:spPr>
      </p:pic>
      <p:pic>
        <p:nvPicPr>
          <p:cNvPr id="9" name="Afbeelding 8" descr="Afbeelding met tekst, lijn, diagram, Perceel&#10;&#10;Automatisch gegenereerde beschrijving">
            <a:extLst>
              <a:ext uri="{FF2B5EF4-FFF2-40B4-BE49-F238E27FC236}">
                <a16:creationId xmlns:a16="http://schemas.microsoft.com/office/drawing/2014/main" id="{F9DD979B-E1A6-5D0C-3D1D-92EE34191A0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23495" y="1182534"/>
            <a:ext cx="6656379" cy="3395252"/>
          </a:xfrm>
          <a:prstGeom prst="rect">
            <a:avLst/>
          </a:prstGeom>
        </p:spPr>
      </p:pic>
      <p:pic>
        <p:nvPicPr>
          <p:cNvPr id="13" name="Afbeelding 12" descr="Ministerie van Justitie en Veiligheid over het GRC-tooling project">
            <a:extLst>
              <a:ext uri="{FF2B5EF4-FFF2-40B4-BE49-F238E27FC236}">
                <a16:creationId xmlns:a16="http://schemas.microsoft.com/office/drawing/2014/main" id="{C42D3932-825E-002F-B678-79B801AB51D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75930" y="1173821"/>
            <a:ext cx="1395977" cy="412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672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3FB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8" descr="Laptop PNG transparent image download, size: 1260x756px">
            <a:extLst>
              <a:ext uri="{FF2B5EF4-FFF2-40B4-BE49-F238E27FC236}">
                <a16:creationId xmlns:a16="http://schemas.microsoft.com/office/drawing/2014/main" id="{C1552B04-2773-CCA8-3A19-770D853A49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989" y="2566563"/>
            <a:ext cx="5824223" cy="3244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hoek 6">
            <a:extLst>
              <a:ext uri="{FF2B5EF4-FFF2-40B4-BE49-F238E27FC236}">
                <a16:creationId xmlns:a16="http://schemas.microsoft.com/office/drawing/2014/main" id="{533073BA-6013-1AF3-7218-93A97C22B9DF}"/>
              </a:ext>
            </a:extLst>
          </p:cNvPr>
          <p:cNvSpPr/>
          <p:nvPr/>
        </p:nvSpPr>
        <p:spPr>
          <a:xfrm>
            <a:off x="-17020" y="-8079"/>
            <a:ext cx="4694828" cy="5812403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3"/>
              </a:buClr>
            </a:pPr>
            <a:endParaRPr lang="en-GB" sz="900" err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TextBox 80">
            <a:extLst>
              <a:ext uri="{FF2B5EF4-FFF2-40B4-BE49-F238E27FC236}">
                <a16:creationId xmlns:a16="http://schemas.microsoft.com/office/drawing/2014/main" id="{E4B56F38-D319-1E33-83EB-0F04349BE264}"/>
              </a:ext>
            </a:extLst>
          </p:cNvPr>
          <p:cNvSpPr txBox="1"/>
          <p:nvPr/>
        </p:nvSpPr>
        <p:spPr>
          <a:xfrm>
            <a:off x="189905" y="287736"/>
            <a:ext cx="4489227" cy="5786199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 defTabSz="914354">
              <a:defRPr/>
            </a:pPr>
            <a:r>
              <a:rPr lang="nl-NL" sz="1600" b="1" kern="0" noProof="1">
                <a:solidFill>
                  <a:srgbClr val="F3FBF7"/>
                </a:solidFill>
                <a:latin typeface="Montserrat"/>
                <a:ea typeface="+mn-lt"/>
                <a:cs typeface="+mn-lt"/>
              </a:rPr>
              <a:t>STAP 1: </a:t>
            </a:r>
            <a:r>
              <a:rPr lang="nl-NL" sz="1600" b="1" kern="0" noProof="1">
                <a:solidFill>
                  <a:srgbClr val="F3FBF7"/>
                </a:solidFill>
                <a:ea typeface="+mn-lt"/>
                <a:cs typeface="+mn-lt"/>
              </a:rPr>
              <a:t>De Start van CSRD</a:t>
            </a:r>
            <a:endParaRPr lang="nl-NL">
              <a:latin typeface="Montserrat"/>
              <a:ea typeface="+mn-lt"/>
              <a:cs typeface="+mn-lt"/>
            </a:endParaRPr>
          </a:p>
          <a:p>
            <a:pPr defTabSz="914354">
              <a:defRPr/>
            </a:pPr>
            <a:r>
              <a:rPr lang="nl-NL" sz="2800" b="1" kern="0" noProof="1">
                <a:solidFill>
                  <a:srgbClr val="F3FBF7"/>
                </a:solidFill>
                <a:latin typeface="Montserrat"/>
                <a:ea typeface="+mn-lt"/>
                <a:cs typeface="+mn-lt"/>
              </a:rPr>
              <a:t>Organisatie</a:t>
            </a:r>
            <a:endParaRPr lang="nl-NL" sz="2800" b="1" kern="0" noProof="1">
              <a:ea typeface="+mn-lt"/>
              <a:cs typeface="+mn-lt"/>
            </a:endParaRPr>
          </a:p>
          <a:p>
            <a:pPr marL="285750" indent="-285750" defTabSz="914354">
              <a:buFont typeface="Arial"/>
              <a:buChar char="•"/>
              <a:defRPr/>
            </a:pPr>
            <a:endParaRPr lang="nl-NL" sz="1400" kern="0" noProof="1">
              <a:solidFill>
                <a:srgbClr val="F3FBF7"/>
              </a:solidFill>
              <a:latin typeface="Montserrat"/>
              <a:ea typeface="+mn-lt"/>
              <a:cs typeface="+mn-lt"/>
            </a:endParaRPr>
          </a:p>
          <a:p>
            <a:pPr marL="285750" indent="-285750" defTabSz="914354">
              <a:buFont typeface="Arial"/>
              <a:buChar char="•"/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  <a:ea typeface="+mn-lt"/>
                <a:cs typeface="+mn-lt"/>
              </a:rPr>
              <a:t>Gap-analyse en verbind de materiele ESRS onderwerpen met de te rapporteren EFRAG datapunten</a:t>
            </a:r>
            <a:endParaRPr lang="nl-NL"/>
          </a:p>
          <a:p>
            <a:pPr marL="285750" indent="-285750" defTabSz="914354">
              <a:buFont typeface="Arial"/>
              <a:buChar char="•"/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  <a:ea typeface="+mn-lt"/>
                <a:cs typeface="+mn-lt"/>
              </a:rPr>
              <a:t>Denk na over de governance en het verantwoordingsproces neem CSRD-rapportage vereisten als uitgangspunt</a:t>
            </a:r>
          </a:p>
          <a:p>
            <a:pPr marL="285750" indent="-285750" defTabSz="914354">
              <a:buFont typeface="Arial"/>
              <a:buChar char="•"/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  <a:ea typeface="Calibri"/>
                <a:cs typeface="Calibri"/>
              </a:rPr>
              <a:t>Het is niet alleen data, maar data is wel belangrijk!</a:t>
            </a:r>
            <a:endParaRPr lang="nl-NL"/>
          </a:p>
          <a:p>
            <a:pPr marL="285750" indent="-285750" defTabSz="914354">
              <a:buFont typeface="Arial"/>
              <a:buChar char="•"/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  <a:ea typeface="+mn-lt"/>
                <a:cs typeface="+mn-lt"/>
              </a:rPr>
              <a:t>Tooling kan helpen om:</a:t>
            </a:r>
            <a:endParaRPr lang="nl-NL" sz="1700">
              <a:latin typeface="Montserrat"/>
              <a:ea typeface="Calibri"/>
              <a:cs typeface="Calibri"/>
            </a:endParaRPr>
          </a:p>
          <a:p>
            <a:pPr marL="285750" indent="-285750" defTabSz="914354">
              <a:buFont typeface="Arial"/>
              <a:buChar char="•"/>
              <a:defRPr/>
            </a:pPr>
            <a:endParaRPr lang="nl-NL" sz="1400" kern="0" noProof="1">
              <a:solidFill>
                <a:srgbClr val="F3FBF7"/>
              </a:solidFill>
              <a:latin typeface="Montserrat"/>
              <a:ea typeface="+mn-lt"/>
              <a:cs typeface="+mn-lt"/>
            </a:endParaRPr>
          </a:p>
          <a:p>
            <a:pPr marL="603250" lvl="1" indent="-171450" defTabSz="914354">
              <a:buFont typeface="Courier New"/>
              <a:buChar char="o"/>
              <a:defRPr/>
            </a:pPr>
            <a:r>
              <a:rPr lang="nl-NL" sz="1200" b="1" kern="0" noProof="1">
                <a:solidFill>
                  <a:srgbClr val="FFFFFF"/>
                </a:solidFill>
                <a:latin typeface="Montserrat"/>
                <a:ea typeface="+mn-lt"/>
                <a:cs typeface="+mn-lt"/>
              </a:rPr>
              <a:t>Waarborgen governance</a:t>
            </a:r>
            <a:r>
              <a:rPr lang="nl-NL" sz="1200" kern="0" noProof="1">
                <a:solidFill>
                  <a:srgbClr val="FFFFFF"/>
                </a:solidFill>
                <a:latin typeface="Montserrat"/>
                <a:ea typeface="+mn-lt"/>
                <a:cs typeface="+mn-lt"/>
              </a:rPr>
              <a:t> en workflow transparante verantwoording binnen het bedrijf en richting accountant;</a:t>
            </a:r>
          </a:p>
          <a:p>
            <a:pPr marL="603250" lvl="1" indent="-171450" defTabSz="914354">
              <a:buFont typeface="Courier New"/>
              <a:buChar char="o"/>
              <a:defRPr/>
            </a:pPr>
            <a:r>
              <a:rPr lang="nl-NL" sz="1200" b="1" kern="0" noProof="1">
                <a:solidFill>
                  <a:srgbClr val="FFFFFF"/>
                </a:solidFill>
                <a:latin typeface="Montserrat"/>
                <a:ea typeface="+mn-lt"/>
                <a:cs typeface="+mn-lt"/>
              </a:rPr>
              <a:t>Gestructureerd</a:t>
            </a:r>
            <a:r>
              <a:rPr lang="nl-NL" sz="1200" kern="0" noProof="1">
                <a:solidFill>
                  <a:srgbClr val="FFFFFF"/>
                </a:solidFill>
                <a:latin typeface="Montserrat"/>
                <a:ea typeface="+mn-lt"/>
                <a:cs typeface="+mn-lt"/>
              </a:rPr>
              <a:t> en gestandaardiseerd de data op halen binnen de organisatie;</a:t>
            </a:r>
            <a:endParaRPr lang="nl-NL" sz="1200">
              <a:solidFill>
                <a:srgbClr val="FFFFFF"/>
              </a:solidFill>
              <a:latin typeface="Montserrat"/>
              <a:ea typeface="+mn-lt"/>
              <a:cs typeface="+mn-lt"/>
            </a:endParaRPr>
          </a:p>
          <a:p>
            <a:pPr marL="603250" lvl="1" indent="-171450" defTabSz="914354">
              <a:buFont typeface="Courier New"/>
              <a:buChar char="o"/>
              <a:defRPr/>
            </a:pPr>
            <a:r>
              <a:rPr lang="nl-NL" sz="1200" b="1" kern="0" noProof="1">
                <a:solidFill>
                  <a:srgbClr val="FFFFFF"/>
                </a:solidFill>
                <a:latin typeface="Montserrat"/>
                <a:ea typeface="+mn-lt"/>
                <a:cs typeface="+mn-lt"/>
              </a:rPr>
              <a:t>Continu</a:t>
            </a:r>
            <a:r>
              <a:rPr lang="nl-NL" sz="1200" kern="0" noProof="1">
                <a:solidFill>
                  <a:srgbClr val="FFFFFF"/>
                </a:solidFill>
                <a:latin typeface="Montserrat"/>
                <a:ea typeface="+mn-lt"/>
                <a:cs typeface="+mn-lt"/>
              </a:rPr>
              <a:t> inzicht in de status en ESRS kansen en risico’s met gestructureerde rapporten en dashboards. De positieve impact van de organisatie inzichtelijk maken.</a:t>
            </a:r>
            <a:endParaRPr lang="nl-NL" sz="1200">
              <a:solidFill>
                <a:srgbClr val="FFFFFF"/>
              </a:solidFill>
              <a:latin typeface="Montserrat"/>
              <a:ea typeface="+mn-lt"/>
              <a:cs typeface="+mn-lt"/>
            </a:endParaRPr>
          </a:p>
          <a:p>
            <a:pPr marL="603250" lvl="1" indent="-171450" defTabSz="914354">
              <a:buFont typeface="Courier New"/>
              <a:buChar char="o"/>
              <a:defRPr/>
            </a:pPr>
            <a:endParaRPr lang="nl-NL" sz="1200" kern="0" noProof="1">
              <a:solidFill>
                <a:srgbClr val="FFFFFF"/>
              </a:solidFill>
              <a:latin typeface="Montserrat"/>
              <a:ea typeface="+mn-lt"/>
              <a:cs typeface="+mn-lt"/>
            </a:endParaRPr>
          </a:p>
          <a:p>
            <a:pPr marL="171450" indent="-171450" defTabSz="914354">
              <a:buFont typeface="Arial"/>
              <a:buChar char="•"/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</a:rPr>
              <a:t>Insiders information: Begin op tijd. Het is data, maar ook beleid en risicomanagement.</a:t>
            </a:r>
          </a:p>
          <a:p>
            <a:pPr defTabSz="914354">
              <a:defRPr/>
            </a:pPr>
            <a:endParaRPr lang="nl-NL" sz="2400" b="1" kern="0" noProof="1">
              <a:solidFill>
                <a:srgbClr val="F3FBF7"/>
              </a:solidFill>
              <a:latin typeface="Montserrat" panose="00000500000000000000" pitchFamily="2" charset="0"/>
            </a:endParaRP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9D437F86-4B92-B68D-70C2-FCA713489C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688" y="6119725"/>
            <a:ext cx="431800" cy="360362"/>
          </a:xfrm>
        </p:spPr>
        <p:txBody>
          <a:bodyPr/>
          <a:lstStyle/>
          <a:p>
            <a:pPr marL="0" marR="0" lvl="0" indent="0" algn="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82D01A-ED25-4F30-894A-E32B487BCBA5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F4F6F8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pPr marL="0" marR="0" lvl="0" indent="0" algn="r" defTabSz="86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F4F6F8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DE59FDFF-EEB4-71DE-7AF3-313158242C11}"/>
              </a:ext>
            </a:extLst>
          </p:cNvPr>
          <p:cNvSpPr/>
          <p:nvPr/>
        </p:nvSpPr>
        <p:spPr>
          <a:xfrm>
            <a:off x="244" y="5804413"/>
            <a:ext cx="11520488" cy="67558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err="1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42CF5FA-81C9-28B7-2A85-20D40B5B53EF}"/>
              </a:ext>
            </a:extLst>
          </p:cNvPr>
          <p:cNvSpPr txBox="1">
            <a:spLocks/>
          </p:cNvSpPr>
          <p:nvPr/>
        </p:nvSpPr>
        <p:spPr>
          <a:xfrm>
            <a:off x="125479" y="5917710"/>
            <a:ext cx="10296239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BeYOND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0" name="Afbeelding 1071">
            <a:extLst>
              <a:ext uri="{FF2B5EF4-FFF2-40B4-BE49-F238E27FC236}">
                <a16:creationId xmlns:a16="http://schemas.microsoft.com/office/drawing/2014/main" id="{E4983F3D-85CB-029E-9E65-80D542A30BC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2010" y="2901435"/>
            <a:ext cx="3509536" cy="2394466"/>
          </a:xfrm>
          <a:prstGeom prst="rect">
            <a:avLst/>
          </a:prstGeom>
        </p:spPr>
      </p:pic>
      <p:sp>
        <p:nvSpPr>
          <p:cNvPr id="63" name="TextBox 80">
            <a:extLst>
              <a:ext uri="{FF2B5EF4-FFF2-40B4-BE49-F238E27FC236}">
                <a16:creationId xmlns:a16="http://schemas.microsoft.com/office/drawing/2014/main" id="{BA9B8E7D-298E-D88D-4A0B-6EB54F71058D}"/>
              </a:ext>
            </a:extLst>
          </p:cNvPr>
          <p:cNvSpPr txBox="1"/>
          <p:nvPr/>
        </p:nvSpPr>
        <p:spPr>
          <a:xfrm>
            <a:off x="5226765" y="214404"/>
            <a:ext cx="6080084" cy="2195473"/>
          </a:xfrm>
          <a:prstGeom prst="rect">
            <a:avLst/>
          </a:prstGeom>
          <a:noFill/>
        </p:spPr>
        <p:txBody>
          <a:bodyPr wrap="square" lIns="0" tIns="45720" rIns="91440" bIns="45720" rtlCol="0" anchor="t">
            <a:spAutoFit/>
          </a:bodyPr>
          <a:lstStyle/>
          <a:p>
            <a:pPr defTabSz="914343">
              <a:spcBef>
                <a:spcPts val="283"/>
              </a:spcBef>
              <a:spcAft>
                <a:spcPts val="200"/>
              </a:spcAft>
              <a:defRPr/>
            </a:pPr>
            <a:r>
              <a:rPr lang="en-US" sz="1500" kern="0" noProof="1">
                <a:solidFill>
                  <a:srgbClr val="236B47"/>
                </a:solidFill>
                <a:latin typeface="Montserrat"/>
              </a:rPr>
              <a:t>Voorbeeld:</a:t>
            </a:r>
          </a:p>
          <a:p>
            <a:pPr marL="701675" lvl="1" indent="-26987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00" kern="0" noProof="1">
                <a:solidFill>
                  <a:srgbClr val="236B47"/>
                </a:solidFill>
                <a:latin typeface="Montserrat"/>
              </a:rPr>
              <a:t>Materieel thema: </a:t>
            </a:r>
            <a:r>
              <a:rPr lang="en-US" sz="1500" b="1" kern="0" noProof="1">
                <a:solidFill>
                  <a:srgbClr val="236B47"/>
                </a:solidFill>
                <a:latin typeface="Montserrat"/>
              </a:rPr>
              <a:t>Energieverbruik</a:t>
            </a:r>
          </a:p>
          <a:p>
            <a:pPr marL="701675" lvl="1" indent="-26987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00" kern="0" noProof="1">
                <a:solidFill>
                  <a:srgbClr val="236B47"/>
                </a:solidFill>
                <a:latin typeface="Montserrat"/>
              </a:rPr>
              <a:t>Thematische standaard: </a:t>
            </a:r>
            <a:r>
              <a:rPr lang="en-US" sz="1500" b="1" kern="0" noProof="1">
                <a:solidFill>
                  <a:srgbClr val="236B47"/>
                </a:solidFill>
                <a:latin typeface="Montserrat"/>
              </a:rPr>
              <a:t>ESRS E1 Climate change - Energy</a:t>
            </a:r>
          </a:p>
          <a:p>
            <a:pPr marL="701675" lvl="1" indent="-26987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00" kern="0" noProof="1">
                <a:solidFill>
                  <a:srgbClr val="236B47"/>
                </a:solidFill>
                <a:latin typeface="Montserrat"/>
              </a:rPr>
              <a:t>Datapunten EFRAG: </a:t>
            </a:r>
            <a:r>
              <a:rPr lang="en-US" sz="1500" b="1" kern="0" noProof="1">
                <a:solidFill>
                  <a:srgbClr val="236B47"/>
                </a:solidFill>
                <a:latin typeface="Montserrat"/>
              </a:rPr>
              <a:t>ESRS E1-3 </a:t>
            </a:r>
            <a:endParaRPr lang="en-US" sz="1500" b="1" kern="0" noProof="1">
              <a:solidFill>
                <a:srgbClr val="236B47"/>
              </a:solidFill>
              <a:latin typeface="Montserrat" panose="00000500000000000000" pitchFamily="2" charset="0"/>
            </a:endParaRPr>
          </a:p>
          <a:p>
            <a:pPr marL="701675" lvl="1" indent="-26987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00" kern="0" noProof="1">
                <a:solidFill>
                  <a:srgbClr val="236B47"/>
                </a:solidFill>
                <a:latin typeface="Montserrat"/>
              </a:rPr>
              <a:t>Voorbeeld datapunt: </a:t>
            </a:r>
            <a:r>
              <a:rPr lang="en-US" sz="1500" b="1" kern="0" noProof="1">
                <a:solidFill>
                  <a:srgbClr val="236B47"/>
                </a:solidFill>
                <a:latin typeface="Montserrat"/>
              </a:rPr>
              <a:t>Acties en middelen met betrekking tot beperking van en aanpassing aan klimaatverandering 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037D4CDF-176F-5717-D919-80C6A065507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5" name="Picture 2" descr="Nationale Coalitie Duurzame Digitalisering">
            <a:extLst>
              <a:ext uri="{FF2B5EF4-FFF2-40B4-BE49-F238E27FC236}">
                <a16:creationId xmlns:a16="http://schemas.microsoft.com/office/drawing/2014/main" id="{7892C1C9-2D4B-DCA6-83AA-663C01552E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Afbeelding 5" descr="Afbeelding met tekst, schermopname, nummer, Lettertype&#10;&#10;Automatisch gegenereerde beschrijving">
            <a:extLst>
              <a:ext uri="{FF2B5EF4-FFF2-40B4-BE49-F238E27FC236}">
                <a16:creationId xmlns:a16="http://schemas.microsoft.com/office/drawing/2014/main" id="{96516714-712F-6165-23FF-FD0854E7C3C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03998" y="3251461"/>
            <a:ext cx="4218732" cy="1751912"/>
          </a:xfrm>
          <a:prstGeom prst="rect">
            <a:avLst/>
          </a:prstGeom>
        </p:spPr>
      </p:pic>
      <p:pic>
        <p:nvPicPr>
          <p:cNvPr id="14" name="Afbeelding 13" descr="Ministerie van Justitie en Veiligheid over het GRC-tooling project">
            <a:extLst>
              <a:ext uri="{FF2B5EF4-FFF2-40B4-BE49-F238E27FC236}">
                <a16:creationId xmlns:a16="http://schemas.microsoft.com/office/drawing/2014/main" id="{ACB398B0-21A2-2C5D-6769-9474EA693BA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678516" y="4989484"/>
            <a:ext cx="1007355" cy="30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017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782206" y="939872"/>
            <a:ext cx="2633927" cy="61322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99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598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397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196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3995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2794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593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0392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l">
              <a:lnSpc>
                <a:spcPts val="5216"/>
              </a:lnSpc>
              <a:spcBef>
                <a:spcPct val="0"/>
              </a:spcBef>
            </a:pPr>
            <a:r>
              <a:rPr lang="en-US" sz="3779" spc="370">
                <a:solidFill>
                  <a:srgbClr val="35744F"/>
                </a:solidFill>
                <a:latin typeface="Arial Bold"/>
              </a:rPr>
              <a:t>Welkom!</a:t>
            </a:r>
          </a:p>
        </p:txBody>
      </p:sp>
      <p:sp>
        <p:nvSpPr>
          <p:cNvPr id="4" name="TextBox 4"/>
          <p:cNvSpPr txBox="1"/>
          <p:nvPr/>
        </p:nvSpPr>
        <p:spPr>
          <a:xfrm>
            <a:off x="3764008" y="1722686"/>
            <a:ext cx="6981788" cy="63386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99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598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397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196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3995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2794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593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0392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607"/>
              </a:lnSpc>
              <a:spcBef>
                <a:spcPct val="0"/>
              </a:spcBef>
            </a:pPr>
            <a:r>
              <a:rPr lang="en-US" sz="1858" spc="185">
                <a:solidFill>
                  <a:srgbClr val="397D5A"/>
                </a:solidFill>
                <a:latin typeface="Arial Bold"/>
                <a:cs typeface="Arial Bold"/>
              </a:rPr>
              <a:t>Het webinar </a:t>
            </a:r>
            <a:r>
              <a:rPr lang="en-US" sz="1858" spc="185" err="1">
                <a:solidFill>
                  <a:srgbClr val="397D5A"/>
                </a:solidFill>
                <a:latin typeface="Arial Bold"/>
                <a:cs typeface="Arial Bold"/>
              </a:rPr>
              <a:t>wordt</a:t>
            </a:r>
            <a:r>
              <a:rPr lang="en-US" sz="1858" spc="185">
                <a:solidFill>
                  <a:srgbClr val="397D5A"/>
                </a:solidFill>
                <a:latin typeface="Arial Bold"/>
                <a:cs typeface="Arial Bold"/>
              </a:rPr>
              <a:t> </a:t>
            </a:r>
            <a:r>
              <a:rPr lang="en-US" sz="1858" spc="185" err="1">
                <a:solidFill>
                  <a:srgbClr val="397D5A"/>
                </a:solidFill>
                <a:latin typeface="Arial Bold"/>
                <a:cs typeface="Arial Bold"/>
              </a:rPr>
              <a:t>opgenomen</a:t>
            </a:r>
            <a:r>
              <a:rPr lang="en-US" sz="1858" spc="185">
                <a:solidFill>
                  <a:srgbClr val="397D5A"/>
                </a:solidFill>
                <a:latin typeface="Arial Bold"/>
                <a:cs typeface="Arial Bold"/>
              </a:rPr>
              <a:t> </a:t>
            </a:r>
            <a:r>
              <a:rPr lang="en-US" sz="1858" spc="185" err="1">
                <a:solidFill>
                  <a:srgbClr val="397D5A"/>
                </a:solidFill>
                <a:latin typeface="Arial Bold"/>
                <a:cs typeface="Arial Bold"/>
              </a:rPr>
              <a:t>en</a:t>
            </a:r>
            <a:r>
              <a:rPr lang="en-US" sz="1858" spc="185">
                <a:solidFill>
                  <a:srgbClr val="397D5A"/>
                </a:solidFill>
                <a:latin typeface="Arial Bold"/>
                <a:cs typeface="Arial Bold"/>
              </a:rPr>
              <a:t> </a:t>
            </a:r>
            <a:r>
              <a:rPr lang="en-US" sz="1858" spc="185" err="1">
                <a:solidFill>
                  <a:srgbClr val="397D5A"/>
                </a:solidFill>
                <a:latin typeface="Arial Bold"/>
                <a:cs typeface="Arial Bold"/>
              </a:rPr>
              <a:t>naderhand</a:t>
            </a:r>
            <a:r>
              <a:rPr lang="en-US" sz="1858" spc="185">
                <a:solidFill>
                  <a:srgbClr val="397D5A"/>
                </a:solidFill>
                <a:latin typeface="Arial Bold"/>
                <a:cs typeface="Arial Bold"/>
              </a:rPr>
              <a:t> op het </a:t>
            </a:r>
            <a:r>
              <a:rPr lang="en-US" sz="1858" spc="185" err="1">
                <a:solidFill>
                  <a:srgbClr val="397D5A"/>
                </a:solidFill>
                <a:latin typeface="Arial Bold"/>
                <a:cs typeface="Arial Bold"/>
              </a:rPr>
              <a:t>Youtube</a:t>
            </a:r>
            <a:r>
              <a:rPr lang="en-US" sz="1858" spc="185">
                <a:solidFill>
                  <a:srgbClr val="397D5A"/>
                </a:solidFill>
                <a:latin typeface="Arial Bold"/>
                <a:cs typeface="Arial Bold"/>
              </a:rPr>
              <a:t> </a:t>
            </a:r>
            <a:r>
              <a:rPr lang="en-US" sz="1858" spc="185" err="1">
                <a:solidFill>
                  <a:srgbClr val="397D5A"/>
                </a:solidFill>
                <a:latin typeface="Arial Bold"/>
                <a:cs typeface="Arial Bold"/>
              </a:rPr>
              <a:t>kanaal</a:t>
            </a:r>
            <a:r>
              <a:rPr lang="en-US" sz="1858" spc="185">
                <a:solidFill>
                  <a:srgbClr val="397D5A"/>
                </a:solidFill>
                <a:latin typeface="Arial Bold"/>
                <a:cs typeface="Arial Bold"/>
              </a:rPr>
              <a:t> van de NCDD </a:t>
            </a:r>
            <a:r>
              <a:rPr lang="en-US" sz="1858" spc="185" err="1">
                <a:solidFill>
                  <a:srgbClr val="397D5A"/>
                </a:solidFill>
                <a:latin typeface="Arial Bold"/>
                <a:cs typeface="Arial Bold"/>
              </a:rPr>
              <a:t>geplaatst</a:t>
            </a:r>
            <a:r>
              <a:rPr lang="en-US" sz="1858" spc="185">
                <a:solidFill>
                  <a:srgbClr val="397D5A"/>
                </a:solidFill>
                <a:latin typeface="Arial Bold"/>
                <a:cs typeface="Arial Bold"/>
              </a:rPr>
              <a:t>.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3778554" y="2693556"/>
            <a:ext cx="6967243" cy="96507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99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598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397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196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3995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2794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593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0392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607"/>
              </a:lnSpc>
              <a:spcBef>
                <a:spcPct val="0"/>
              </a:spcBef>
            </a:pPr>
            <a:r>
              <a:rPr lang="en-US" sz="1850" spc="185" dirty="0">
                <a:solidFill>
                  <a:srgbClr val="397D5A"/>
                </a:solidFill>
                <a:latin typeface="Arial Bold"/>
                <a:cs typeface="Arial Bold"/>
              </a:rPr>
              <a:t>Laat je camera </a:t>
            </a:r>
            <a:r>
              <a:rPr lang="en-US" sz="1850" spc="185" dirty="0" err="1">
                <a:solidFill>
                  <a:srgbClr val="397D5A"/>
                </a:solidFill>
                <a:latin typeface="Arial Bold"/>
                <a:cs typeface="Arial Bold"/>
              </a:rPr>
              <a:t>en</a:t>
            </a:r>
            <a:r>
              <a:rPr lang="en-US" sz="1850" spc="185" dirty="0">
                <a:solidFill>
                  <a:srgbClr val="397D5A"/>
                </a:solidFill>
                <a:latin typeface="Arial Bold"/>
                <a:cs typeface="Arial Bold"/>
              </a:rPr>
              <a:t> </a:t>
            </a:r>
            <a:r>
              <a:rPr lang="en-US" sz="1850" spc="185" dirty="0" err="1">
                <a:solidFill>
                  <a:srgbClr val="397D5A"/>
                </a:solidFill>
                <a:latin typeface="Arial Bold"/>
                <a:cs typeface="Arial Bold"/>
              </a:rPr>
              <a:t>microfoon</a:t>
            </a:r>
            <a:r>
              <a:rPr lang="en-US" sz="1850" spc="185" dirty="0">
                <a:solidFill>
                  <a:srgbClr val="397D5A"/>
                </a:solidFill>
                <a:latin typeface="Arial Bold"/>
                <a:cs typeface="Arial Bold"/>
              </a:rPr>
              <a:t> </a:t>
            </a:r>
            <a:r>
              <a:rPr lang="en-US" sz="1850" spc="185" dirty="0" err="1">
                <a:solidFill>
                  <a:srgbClr val="397D5A"/>
                </a:solidFill>
                <a:latin typeface="Arial Bold"/>
                <a:cs typeface="Arial Bold"/>
              </a:rPr>
              <a:t>uit</a:t>
            </a:r>
            <a:r>
              <a:rPr lang="en-US" sz="1850" spc="185" dirty="0">
                <a:solidFill>
                  <a:srgbClr val="397D5A"/>
                </a:solidFill>
                <a:latin typeface="Arial Bold"/>
                <a:cs typeface="Arial Bold"/>
              </a:rPr>
              <a:t> </a:t>
            </a:r>
            <a:r>
              <a:rPr lang="en-US" sz="1850" spc="185" dirty="0" err="1">
                <a:solidFill>
                  <a:srgbClr val="397D5A"/>
                </a:solidFill>
                <a:latin typeface="Arial Bold"/>
                <a:cs typeface="Arial Bold"/>
              </a:rPr>
              <a:t>tijdens</a:t>
            </a:r>
            <a:r>
              <a:rPr lang="en-US" sz="1850" spc="185" dirty="0">
                <a:solidFill>
                  <a:srgbClr val="397D5A"/>
                </a:solidFill>
                <a:latin typeface="Arial Bold"/>
                <a:cs typeface="Arial Bold"/>
              </a:rPr>
              <a:t> de </a:t>
            </a:r>
            <a:r>
              <a:rPr lang="en-US" sz="1850" spc="185" dirty="0" err="1">
                <a:solidFill>
                  <a:srgbClr val="397D5A"/>
                </a:solidFill>
                <a:latin typeface="Arial Bold"/>
                <a:cs typeface="Arial Bold"/>
              </a:rPr>
              <a:t>presentatie</a:t>
            </a:r>
            <a:r>
              <a:rPr lang="en-US" sz="1850" spc="185" dirty="0">
                <a:solidFill>
                  <a:srgbClr val="397D5A"/>
                </a:solidFill>
                <a:latin typeface="Arial Bold"/>
                <a:cs typeface="Arial Bold"/>
              </a:rPr>
              <a:t>, zo </a:t>
            </a:r>
            <a:r>
              <a:rPr lang="en-US" sz="1850" spc="185" dirty="0" err="1">
                <a:solidFill>
                  <a:srgbClr val="397D5A"/>
                </a:solidFill>
                <a:latin typeface="Arial Bold"/>
                <a:cs typeface="Arial Bold"/>
              </a:rPr>
              <a:t>kan</a:t>
            </a:r>
            <a:r>
              <a:rPr lang="en-US" sz="1850" spc="185" dirty="0">
                <a:solidFill>
                  <a:srgbClr val="397D5A"/>
                </a:solidFill>
                <a:latin typeface="Arial Bold"/>
                <a:cs typeface="Arial Bold"/>
              </a:rPr>
              <a:t> </a:t>
            </a:r>
            <a:r>
              <a:rPr lang="en-US" sz="1850" spc="185" dirty="0" err="1">
                <a:solidFill>
                  <a:srgbClr val="397D5A"/>
                </a:solidFill>
                <a:latin typeface="Arial Bold"/>
                <a:cs typeface="Arial Bold"/>
              </a:rPr>
              <a:t>iedereen</a:t>
            </a:r>
            <a:r>
              <a:rPr lang="en-US" sz="1850" spc="185" dirty="0">
                <a:solidFill>
                  <a:srgbClr val="397D5A"/>
                </a:solidFill>
                <a:latin typeface="Arial Bold"/>
                <a:cs typeface="Arial Bold"/>
              </a:rPr>
              <a:t> de </a:t>
            </a:r>
            <a:r>
              <a:rPr lang="en-US" sz="1850" spc="185" dirty="0" err="1">
                <a:solidFill>
                  <a:srgbClr val="397D5A"/>
                </a:solidFill>
                <a:latin typeface="Arial Bold"/>
                <a:cs typeface="Arial Bold"/>
              </a:rPr>
              <a:t>presentatie</a:t>
            </a:r>
            <a:r>
              <a:rPr lang="en-US" sz="1850" spc="185" dirty="0">
                <a:solidFill>
                  <a:srgbClr val="397D5A"/>
                </a:solidFill>
                <a:latin typeface="Arial Bold"/>
                <a:cs typeface="Arial Bold"/>
              </a:rPr>
              <a:t> </a:t>
            </a:r>
            <a:r>
              <a:rPr lang="en-US" sz="1850" spc="185" dirty="0" err="1">
                <a:solidFill>
                  <a:srgbClr val="397D5A"/>
                </a:solidFill>
                <a:latin typeface="Arial Bold"/>
                <a:cs typeface="Arial Bold"/>
              </a:rPr>
              <a:t>goed</a:t>
            </a:r>
            <a:r>
              <a:rPr lang="en-US" sz="1850" spc="185" dirty="0">
                <a:solidFill>
                  <a:srgbClr val="397D5A"/>
                </a:solidFill>
                <a:latin typeface="Arial Bold"/>
                <a:cs typeface="Arial Bold"/>
              </a:rPr>
              <a:t> </a:t>
            </a:r>
            <a:r>
              <a:rPr lang="en-US" sz="1850" spc="185" dirty="0" err="1">
                <a:solidFill>
                  <a:srgbClr val="397D5A"/>
                </a:solidFill>
                <a:latin typeface="Arial Bold"/>
                <a:cs typeface="Arial Bold"/>
              </a:rPr>
              <a:t>zien</a:t>
            </a:r>
            <a:r>
              <a:rPr lang="en-US" sz="1850" spc="185" dirty="0">
                <a:solidFill>
                  <a:srgbClr val="397D5A"/>
                </a:solidFill>
                <a:latin typeface="Arial Bold"/>
                <a:cs typeface="Arial Bold"/>
              </a:rPr>
              <a:t> </a:t>
            </a:r>
            <a:r>
              <a:rPr lang="en-US" sz="1850" spc="185" dirty="0" err="1">
                <a:solidFill>
                  <a:srgbClr val="397D5A"/>
                </a:solidFill>
                <a:latin typeface="Arial Bold"/>
                <a:cs typeface="Arial Bold"/>
              </a:rPr>
              <a:t>en</a:t>
            </a:r>
            <a:r>
              <a:rPr lang="en-US" sz="1850" spc="185" dirty="0">
                <a:solidFill>
                  <a:srgbClr val="397D5A"/>
                </a:solidFill>
                <a:latin typeface="Arial Bold"/>
                <a:cs typeface="Arial Bold"/>
              </a:rPr>
              <a:t> </a:t>
            </a:r>
            <a:r>
              <a:rPr lang="en-US" sz="1850" spc="185" dirty="0" err="1">
                <a:solidFill>
                  <a:srgbClr val="397D5A"/>
                </a:solidFill>
                <a:latin typeface="Arial Bold"/>
                <a:cs typeface="Arial Bold"/>
              </a:rPr>
              <a:t>horen</a:t>
            </a:r>
            <a:r>
              <a:rPr lang="en-US" sz="1850" spc="185" dirty="0">
                <a:solidFill>
                  <a:srgbClr val="397D5A"/>
                </a:solidFill>
                <a:latin typeface="Arial Bold"/>
                <a:cs typeface="Arial Bold"/>
              </a:rPr>
              <a:t>.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3785828" y="4029200"/>
            <a:ext cx="5418109" cy="129629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99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598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397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196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3995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2794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593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0392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607"/>
              </a:lnSpc>
              <a:spcBef>
                <a:spcPct val="0"/>
              </a:spcBef>
            </a:pPr>
            <a:endParaRPr lang="en-US"/>
          </a:p>
          <a:p>
            <a:pPr>
              <a:lnSpc>
                <a:spcPts val="2607"/>
              </a:lnSpc>
              <a:spcBef>
                <a:spcPct val="0"/>
              </a:spcBef>
            </a:pPr>
            <a:endParaRPr lang="en-US" sz="1858" spc="185">
              <a:solidFill>
                <a:srgbClr val="397D5A"/>
              </a:solidFill>
              <a:latin typeface="Arial Bold"/>
              <a:cs typeface="Arial Bold"/>
            </a:endParaRPr>
          </a:p>
          <a:p>
            <a:pPr>
              <a:lnSpc>
                <a:spcPts val="2607"/>
              </a:lnSpc>
              <a:spcBef>
                <a:spcPct val="0"/>
              </a:spcBef>
            </a:pPr>
            <a:endParaRPr lang="en-US" sz="1858" spc="185">
              <a:solidFill>
                <a:srgbClr val="397D5A"/>
              </a:solidFill>
              <a:latin typeface="Arial Bold"/>
              <a:cs typeface="Arial Bold"/>
            </a:endParaRPr>
          </a:p>
          <a:p>
            <a:pPr>
              <a:lnSpc>
                <a:spcPts val="2607"/>
              </a:lnSpc>
              <a:spcBef>
                <a:spcPct val="0"/>
              </a:spcBef>
            </a:pPr>
            <a:r>
              <a:rPr lang="en-US" sz="1850" spc="185" dirty="0">
                <a:solidFill>
                  <a:srgbClr val="397D5A"/>
                </a:solidFill>
                <a:latin typeface="Arial Bold"/>
                <a:cs typeface="Arial Bold"/>
              </a:rPr>
              <a:t>Veel </a:t>
            </a:r>
            <a:r>
              <a:rPr lang="en-US" sz="1850" spc="185" dirty="0" err="1">
                <a:solidFill>
                  <a:srgbClr val="397D5A"/>
                </a:solidFill>
                <a:latin typeface="Arial Bold"/>
                <a:cs typeface="Arial Bold"/>
              </a:rPr>
              <a:t>plezier</a:t>
            </a:r>
            <a:r>
              <a:rPr lang="en-US" sz="1850" spc="185" dirty="0">
                <a:solidFill>
                  <a:srgbClr val="397D5A"/>
                </a:solidFill>
                <a:latin typeface="Arial Bold"/>
                <a:cs typeface="Arial Bold"/>
              </a:rPr>
              <a:t>!</a:t>
            </a:r>
          </a:p>
        </p:txBody>
      </p:sp>
      <p:sp>
        <p:nvSpPr>
          <p:cNvPr id="11" name="Freeform 11"/>
          <p:cNvSpPr/>
          <p:nvPr/>
        </p:nvSpPr>
        <p:spPr>
          <a:xfrm rot="10800000">
            <a:off x="-13626" y="2568069"/>
            <a:ext cx="4058775" cy="3924526"/>
          </a:xfrm>
          <a:custGeom>
            <a:avLst/>
            <a:gdLst/>
            <a:ahLst/>
            <a:cxnLst/>
            <a:rect l="l" t="t" r="r" b="b"/>
            <a:pathLst>
              <a:path w="6443131" h="6230017">
                <a:moveTo>
                  <a:pt x="0" y="0"/>
                </a:moveTo>
                <a:lnTo>
                  <a:pt x="6443131" y="0"/>
                </a:lnTo>
                <a:lnTo>
                  <a:pt x="6443131" y="6230017"/>
                </a:lnTo>
                <a:lnTo>
                  <a:pt x="0" y="6230017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l="-236826" b="-95923"/>
            </a:stretch>
          </a:blipFill>
        </p:spPr>
        <p:txBody>
          <a:bodyPr/>
          <a:lstStyle>
            <a:defPPr>
              <a:defRPr lang="en-US"/>
            </a:defPPr>
            <a:lvl1pPr marL="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99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598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397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196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3995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2794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593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0392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NL" sz="714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214D10B-4410-9A47-4844-6E686DB045D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FC49787-8E36-AFD0-0319-C8D462993C6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A53C04-9C99-1AB8-92FD-3B02C9674C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2D01A-ED25-4F30-894A-E32B487BCBA5}" type="slidenum">
              <a:rPr lang="nl-NL" smtClean="0"/>
              <a:pPr/>
              <a:t>20</a:t>
            </a:fld>
            <a:endParaRPr lang="nl-NL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64DFB283-7BF1-2C1F-DFED-42197BC013D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lIns="0" tIns="0" rIns="0" bIns="0" anchor="t">
            <a:normAutofit/>
          </a:bodyPr>
          <a:lstStyle/>
          <a:p>
            <a:r>
              <a:rPr lang="en-US">
                <a:latin typeface="Open Sans"/>
                <a:ea typeface="Open Sans"/>
                <a:cs typeface="Open Sans"/>
              </a:rPr>
              <a:t>25 minuten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BDA4D08-30C0-7B28-78F8-0A96ED802AF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latin typeface="Open Sans"/>
                <a:ea typeface="Open Sans"/>
                <a:cs typeface="Open Sans"/>
              </a:rPr>
              <a:t>Raymond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7E70225-CE88-DDC4-E8EE-CC731804980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520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39F4A929-A108-BCB2-F581-490DCF52F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" y="0"/>
            <a:ext cx="11520311" cy="6480174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F42095D9-C4CB-6940-61D0-D1805966CE6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652" y="144087"/>
            <a:ext cx="6984613" cy="1224160"/>
          </a:xfrm>
        </p:spPr>
        <p:txBody>
          <a:bodyPr/>
          <a:lstStyle/>
          <a:p>
            <a:r>
              <a:rPr lang="en-US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chtergrond</a:t>
            </a:r>
            <a:r>
              <a:rPr lang="en-US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SWO Nederland</a:t>
            </a:r>
            <a:br>
              <a:rPr lang="en-US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en-US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Rechthoek: afgeronde hoeken 4">
            <a:extLst>
              <a:ext uri="{FF2B5EF4-FFF2-40B4-BE49-F238E27FC236}">
                <a16:creationId xmlns:a16="http://schemas.microsoft.com/office/drawing/2014/main" id="{8F99C9DA-507A-439D-D903-3A0D4EA36D08}"/>
              </a:ext>
            </a:extLst>
          </p:cNvPr>
          <p:cNvSpPr/>
          <p:nvPr/>
        </p:nvSpPr>
        <p:spPr>
          <a:xfrm>
            <a:off x="9288292" y="191229"/>
            <a:ext cx="894667" cy="534988"/>
          </a:xfrm>
          <a:prstGeom prst="roundRect">
            <a:avLst>
              <a:gd name="adj" fmla="val 123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07"/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1603B39B-48EE-D3DB-147B-285709657ED4}"/>
              </a:ext>
            </a:extLst>
          </p:cNvPr>
          <p:cNvSpPr txBox="1">
            <a:spLocks/>
          </p:cNvSpPr>
          <p:nvPr/>
        </p:nvSpPr>
        <p:spPr>
          <a:xfrm>
            <a:off x="6480244" y="1512087"/>
            <a:ext cx="5040244" cy="3312000"/>
          </a:xfrm>
          <a:prstGeom prst="rect">
            <a:avLst/>
          </a:prstGeom>
          <a:solidFill>
            <a:srgbClr val="000000">
              <a:alpha val="60000"/>
            </a:srgbClr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432000" tIns="136067" rIns="68033" bIns="10205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marL="143510" lvl="0" indent="-143510" defTabSz="863959">
              <a:spcBef>
                <a:spcPts val="600"/>
              </a:spcBef>
              <a:buClr>
                <a:srgbClr val="FFFFFF"/>
              </a:buClr>
              <a:buFont typeface="Wingdings" panose="05000000000000000000" pitchFamily="2" charset="2"/>
              <a:buChar char="§"/>
              <a:defRPr sz="1100">
                <a:solidFill>
                  <a:srgbClr val="FFFFFF"/>
                </a:solidFill>
                <a:latin typeface="Open Sans"/>
                <a:ea typeface="Open Sans"/>
                <a:cs typeface="Open Sans"/>
              </a:defRPr>
            </a:lvl1pPr>
            <a:lvl2pPr marL="266700" lvl="1" indent="-88900" defTabSz="863959">
              <a:spcBef>
                <a:spcPts val="300"/>
              </a:spcBef>
              <a:buClr>
                <a:srgbClr val="FFFFFF"/>
              </a:buClr>
              <a:buFont typeface="Wingdings" panose="05000000000000000000" pitchFamily="2" charset="2"/>
              <a:buChar char="§"/>
              <a:defRPr sz="900">
                <a:solidFill>
                  <a:srgbClr val="FFFFFF"/>
                </a:solidFill>
                <a:latin typeface="Open Sans"/>
                <a:ea typeface="Open Sans"/>
                <a:cs typeface="Open Sans"/>
              </a:defRPr>
            </a:lvl2pPr>
            <a:lvl3pPr marL="863959" defTabSz="863959">
              <a:defRPr sz="1701"/>
            </a:lvl3pPr>
            <a:lvl4pPr marL="1295938" defTabSz="863959">
              <a:defRPr sz="1701"/>
            </a:lvl4pPr>
            <a:lvl5pPr marL="1727917" defTabSz="863959">
              <a:defRPr sz="1701"/>
            </a:lvl5pPr>
            <a:lvl6pPr marL="2159896" defTabSz="863959">
              <a:defRPr sz="1701"/>
            </a:lvl6pPr>
            <a:lvl7pPr marL="2591875" defTabSz="863959">
              <a:defRPr sz="1701"/>
            </a:lvl7pPr>
            <a:lvl8pPr marL="3023854" defTabSz="863959">
              <a:defRPr sz="1701"/>
            </a:lvl8pPr>
            <a:lvl9pPr marL="3455833" defTabSz="863959">
              <a:defRPr sz="1701"/>
            </a:lvl9pPr>
          </a:lstStyle>
          <a:p>
            <a:r>
              <a:rPr lang="nl-NL" sz="1512"/>
              <a:t>Sociaal Wonen Organisatie</a:t>
            </a:r>
          </a:p>
          <a:p>
            <a:r>
              <a:rPr lang="nl-NL" sz="1512"/>
              <a:t>Bestaat al 25 jaar</a:t>
            </a:r>
          </a:p>
          <a:p>
            <a:r>
              <a:rPr lang="nl-NL" sz="1512"/>
              <a:t>Bouwen en verhuren tijdelijke woningen aan statushouders, vluchtelingen …</a:t>
            </a:r>
          </a:p>
          <a:p>
            <a:r>
              <a:rPr lang="nl-NL" sz="1512"/>
              <a:t>Leveren financieringsoplossingen met sociaal oogmerk zoals een zorginstelling ... </a:t>
            </a:r>
          </a:p>
          <a:p>
            <a:r>
              <a:rPr lang="nl-NL" sz="1512"/>
              <a:t>Omzet ‘21</a:t>
            </a:r>
          </a:p>
          <a:p>
            <a:pPr lvl="1"/>
            <a:r>
              <a:rPr lang="nl-NL" sz="1039"/>
              <a:t>Bouw = € 750 mln</a:t>
            </a:r>
          </a:p>
          <a:p>
            <a:pPr lvl="1"/>
            <a:r>
              <a:rPr lang="nl-NL" sz="1039"/>
              <a:t>Financiering = € 800 mln</a:t>
            </a:r>
          </a:p>
          <a:p>
            <a:r>
              <a:rPr lang="nl-NL" sz="1512"/>
              <a:t>Totaal medewerkers </a:t>
            </a:r>
          </a:p>
          <a:p>
            <a:pPr lvl="1"/>
            <a:r>
              <a:rPr lang="nl-NL" sz="1039"/>
              <a:t>Bouw en verhuur 1.500</a:t>
            </a:r>
          </a:p>
          <a:p>
            <a:pPr lvl="1"/>
            <a:r>
              <a:rPr lang="nl-NL" sz="1039"/>
              <a:t>Financiering 125</a:t>
            </a:r>
          </a:p>
          <a:p>
            <a:endParaRPr lang="nl-NL" sz="1512"/>
          </a:p>
          <a:p>
            <a:endParaRPr lang="nl-NL" sz="1512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011048D3-CADA-78A3-D7D7-FFF754A429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89733" y="214256"/>
            <a:ext cx="979311" cy="627912"/>
          </a:xfrm>
          <a:prstGeom prst="rect">
            <a:avLst/>
          </a:prstGeom>
        </p:spPr>
      </p:pic>
      <p:sp>
        <p:nvSpPr>
          <p:cNvPr id="28" name="Tekstvak 27">
            <a:extLst>
              <a:ext uri="{FF2B5EF4-FFF2-40B4-BE49-F238E27FC236}">
                <a16:creationId xmlns:a16="http://schemas.microsoft.com/office/drawing/2014/main" id="{256D582A-3359-8AFF-7C2E-A46F33332746}"/>
              </a:ext>
            </a:extLst>
          </p:cNvPr>
          <p:cNvSpPr txBox="1"/>
          <p:nvPr/>
        </p:nvSpPr>
        <p:spPr>
          <a:xfrm>
            <a:off x="10249" y="1512087"/>
            <a:ext cx="5111999" cy="584775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wrap="square" lIns="432000">
            <a:spAutoFit/>
          </a:bodyPr>
          <a:lstStyle/>
          <a:p>
            <a:r>
              <a:rPr lang="nl-NL" sz="1600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‘Wij helpen nieuwe Nederlanders aan passende woonruimte en financieren een sociale omgeving’</a:t>
            </a:r>
          </a:p>
        </p:txBody>
      </p:sp>
      <p:sp>
        <p:nvSpPr>
          <p:cNvPr id="9" name="Rechthoek: afgeronde hoeken 8">
            <a:extLst>
              <a:ext uri="{FF2B5EF4-FFF2-40B4-BE49-F238E27FC236}">
                <a16:creationId xmlns:a16="http://schemas.microsoft.com/office/drawing/2014/main" id="{E4B184D6-01E3-8D14-94F0-E976F44B0A56}"/>
              </a:ext>
            </a:extLst>
          </p:cNvPr>
          <p:cNvSpPr/>
          <p:nvPr/>
        </p:nvSpPr>
        <p:spPr>
          <a:xfrm>
            <a:off x="10395016" y="193111"/>
            <a:ext cx="894667" cy="534988"/>
          </a:xfrm>
          <a:prstGeom prst="roundRect">
            <a:avLst>
              <a:gd name="adj" fmla="val 123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07"/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E4E62538-6A5C-7BD1-88EE-55D54B0CC3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69733" y="214256"/>
            <a:ext cx="1050754" cy="67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558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EA983BF7-4B20-B0E8-F965-CD932676652A}"/>
              </a:ext>
            </a:extLst>
          </p:cNvPr>
          <p:cNvSpPr/>
          <p:nvPr/>
        </p:nvSpPr>
        <p:spPr>
          <a:xfrm>
            <a:off x="5904244" y="1224087"/>
            <a:ext cx="5184000" cy="50400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5875" cap="rnd">
            <a:solidFill>
              <a:srgbClr val="00B050"/>
            </a:solidFill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3"/>
              </a:buClr>
            </a:pPr>
            <a:endParaRPr lang="en-NL" sz="850" err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052" name="Picture 4" descr="Slimleren - De provincies van Nederland - basis">
            <a:extLst>
              <a:ext uri="{FF2B5EF4-FFF2-40B4-BE49-F238E27FC236}">
                <a16:creationId xmlns:a16="http://schemas.microsoft.com/office/drawing/2014/main" id="{AE47706F-4602-E93B-E1E8-59FF1F6E9D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09" t="2982" r="3707" b="5999"/>
          <a:stretch/>
        </p:blipFill>
        <p:spPr bwMode="auto">
          <a:xfrm>
            <a:off x="8066080" y="1584087"/>
            <a:ext cx="502164" cy="580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: Top Corners Rounded 18">
            <a:extLst>
              <a:ext uri="{FF2B5EF4-FFF2-40B4-BE49-F238E27FC236}">
                <a16:creationId xmlns:a16="http://schemas.microsoft.com/office/drawing/2014/main" id="{B6EF68A1-0E04-0ED8-683A-0E61BFB7A390}"/>
              </a:ext>
            </a:extLst>
          </p:cNvPr>
          <p:cNvSpPr/>
          <p:nvPr/>
        </p:nvSpPr>
        <p:spPr>
          <a:xfrm>
            <a:off x="5904004" y="4176087"/>
            <a:ext cx="5184240" cy="2088000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B050"/>
          </a:solidFill>
          <a:ln w="15875" cap="rnd">
            <a:noFill/>
            <a:round/>
            <a:tailEnd type="none"/>
          </a:ln>
          <a:effectLst>
            <a:outerShdw blurRad="12700" dist="12700" dir="2700000" algn="tl" rotWithShape="0">
              <a:prstClr val="black">
                <a:alpha val="25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3"/>
              </a:buClr>
            </a:pPr>
            <a:endParaRPr lang="en-NL" sz="850" err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A93FFD1C-08F4-CCD6-3480-C4DC6A098081}"/>
              </a:ext>
            </a:extLst>
          </p:cNvPr>
          <p:cNvSpPr/>
          <p:nvPr/>
        </p:nvSpPr>
        <p:spPr>
          <a:xfrm>
            <a:off x="432244" y="1224087"/>
            <a:ext cx="5184000" cy="50400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5875" cap="rnd">
            <a:solidFill>
              <a:srgbClr val="7030A0"/>
            </a:solidFill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3"/>
              </a:buClr>
            </a:pPr>
            <a:endParaRPr lang="en-NL" sz="850" err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DC17BC8F-04BE-AED6-283E-CBA8F1E779B2}"/>
              </a:ext>
            </a:extLst>
          </p:cNvPr>
          <p:cNvSpPr/>
          <p:nvPr/>
        </p:nvSpPr>
        <p:spPr>
          <a:xfrm>
            <a:off x="432244" y="4176087"/>
            <a:ext cx="5184000" cy="2088000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7030A0"/>
          </a:solidFill>
          <a:ln w="15875" cap="rnd">
            <a:noFill/>
            <a:round/>
            <a:tailEnd type="none"/>
          </a:ln>
          <a:effectLst>
            <a:outerShdw blurRad="12700" dist="12700" dir="2700000" algn="tl" rotWithShape="0">
              <a:prstClr val="black">
                <a:alpha val="25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3"/>
              </a:buClr>
            </a:pPr>
            <a:endParaRPr lang="en-NL" sz="850" err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054" name="Picture 6" descr="First green loan executed for an Indian bank with State Bank of India |  Crédit Agricole CIB">
            <a:extLst>
              <a:ext uri="{FF2B5EF4-FFF2-40B4-BE49-F238E27FC236}">
                <a16:creationId xmlns:a16="http://schemas.microsoft.com/office/drawing/2014/main" id="{ABAA979B-82EA-3B00-8F4F-9A9F68C31855}"/>
              </a:ext>
            </a:extLst>
          </p:cNvPr>
          <p:cNvPicPr>
            <a:picLocks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74" t="4241" r="3387" b="7803"/>
          <a:stretch/>
        </p:blipFill>
        <p:spPr bwMode="auto">
          <a:xfrm>
            <a:off x="504244" y="2234572"/>
            <a:ext cx="2448000" cy="1872000"/>
          </a:xfrm>
          <a:prstGeom prst="roundRect">
            <a:avLst>
              <a:gd name="adj" fmla="val 4908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1D71DC75-6DE8-8F61-8FF0-54D23032AD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799" y="360000"/>
            <a:ext cx="8064445" cy="432000"/>
          </a:xfrm>
        </p:spPr>
        <p:txBody>
          <a:bodyPr/>
          <a:lstStyle/>
          <a:p>
            <a:r>
              <a:rPr lang="nl-NL" sz="2400" i="1">
                <a:solidFill>
                  <a:schemeClr val="tx1"/>
                </a:solidFill>
              </a:rPr>
              <a:t>‘Wij helpen nieuwe Nederlanders aan passende woonruimte en financieren een sociale omgeving’</a:t>
            </a:r>
          </a:p>
        </p:txBody>
      </p:sp>
      <p:pic>
        <p:nvPicPr>
          <p:cNvPr id="2050" name="Picture 2" descr="Regio's - NVTG (powered by e-captain.nl)">
            <a:extLst>
              <a:ext uri="{FF2B5EF4-FFF2-40B4-BE49-F238E27FC236}">
                <a16:creationId xmlns:a16="http://schemas.microsoft.com/office/drawing/2014/main" id="{ED18CF24-9A40-3FC1-9AE5-66F004C1F9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0244" y="1640847"/>
            <a:ext cx="429333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tangle 78">
            <a:extLst>
              <a:ext uri="{FF2B5EF4-FFF2-40B4-BE49-F238E27FC236}">
                <a16:creationId xmlns:a16="http://schemas.microsoft.com/office/drawing/2014/main" id="{8059A921-FAD9-39B3-46AB-2B8C4B5B40CB}"/>
              </a:ext>
            </a:extLst>
          </p:cNvPr>
          <p:cNvSpPr/>
          <p:nvPr/>
        </p:nvSpPr>
        <p:spPr>
          <a:xfrm>
            <a:off x="432243" y="1584087"/>
            <a:ext cx="2592000" cy="576000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</p:spPr>
        <p:txBody>
          <a:bodyPr wrap="square" lIns="72000" tIns="72000" rIns="36000" bIns="36000" rtlCol="0" anchor="t"/>
          <a:lstStyle/>
          <a:p>
            <a:pPr defTabSz="816400">
              <a:spcAft>
                <a:spcPts val="283"/>
              </a:spcAft>
            </a:pPr>
            <a:r>
              <a:rPr lang="nl-NL" sz="900" kern="0" cap="all" spc="38">
                <a:latin typeface="Open Sans" pitchFamily="2" charset="0"/>
                <a:ea typeface="Open Sans" pitchFamily="2" charset="0"/>
                <a:cs typeface="Open Sans" pitchFamily="2" charset="0"/>
              </a:rPr>
              <a:t>Goede financiering Ratio (GFR)</a:t>
            </a:r>
          </a:p>
          <a:p>
            <a:pPr marL="85502" indent="-85502" defTabSz="816400">
              <a:spcBef>
                <a:spcPts val="283"/>
              </a:spcBef>
              <a:buClr>
                <a:schemeClr val="tx1">
                  <a:lumMod val="65000"/>
                  <a:lumOff val="35000"/>
                </a:schemeClr>
              </a:buClr>
              <a:buFont typeface="Arial" panose="020B0604020202020204" pitchFamily="34" charset="0"/>
              <a:buChar char="•"/>
            </a:pPr>
            <a:r>
              <a:rPr lang="nl-NL" sz="900" kern="0">
                <a:latin typeface="Open Sans" pitchFamily="2" charset="0"/>
                <a:ea typeface="Open Sans" pitchFamily="2" charset="0"/>
                <a:cs typeface="Open Sans" pitchFamily="2" charset="0"/>
              </a:rPr>
              <a:t>Alleen financiering voor x klanten</a:t>
            </a:r>
          </a:p>
          <a:p>
            <a:pPr marL="85502" indent="-85502" defTabSz="816400">
              <a:spcBef>
                <a:spcPts val="283"/>
              </a:spcBef>
              <a:buClr>
                <a:schemeClr val="tx1">
                  <a:lumMod val="65000"/>
                  <a:lumOff val="35000"/>
                </a:schemeClr>
              </a:buClr>
              <a:buFont typeface="Arial" panose="020B0604020202020204" pitchFamily="34" charset="0"/>
              <a:buChar char="•"/>
            </a:pPr>
            <a:r>
              <a:rPr lang="nl-NL" sz="900" kern="0">
                <a:latin typeface="Open Sans" pitchFamily="2" charset="0"/>
                <a:ea typeface="Open Sans" pitchFamily="2" charset="0"/>
                <a:cs typeface="Open Sans" pitchFamily="2" charset="0"/>
              </a:rPr>
              <a:t>Gericht verbeteren of afscheid nemen</a:t>
            </a:r>
          </a:p>
        </p:txBody>
      </p:sp>
      <p:graphicFrame>
        <p:nvGraphicFramePr>
          <p:cNvPr id="2" name="Tabel 2">
            <a:extLst>
              <a:ext uri="{FF2B5EF4-FFF2-40B4-BE49-F238E27FC236}">
                <a16:creationId xmlns:a16="http://schemas.microsoft.com/office/drawing/2014/main" id="{37A9012A-1B56-254C-74C1-3E0F47BF11A1}"/>
              </a:ext>
            </a:extLst>
          </p:cNvPr>
          <p:cNvGraphicFramePr>
            <a:graphicFrameLocks noGrp="1"/>
          </p:cNvGraphicFramePr>
          <p:nvPr/>
        </p:nvGraphicFramePr>
        <p:xfrm>
          <a:off x="504243" y="4276510"/>
          <a:ext cx="5040001" cy="1645920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1454141">
                  <a:extLst>
                    <a:ext uri="{9D8B030D-6E8A-4147-A177-3AD203B41FA5}">
                      <a16:colId xmlns:a16="http://schemas.microsoft.com/office/drawing/2014/main" val="2667108964"/>
                    </a:ext>
                  </a:extLst>
                </a:gridCol>
                <a:gridCol w="3585860">
                  <a:extLst>
                    <a:ext uri="{9D8B030D-6E8A-4147-A177-3AD203B41FA5}">
                      <a16:colId xmlns:a16="http://schemas.microsoft.com/office/drawing/2014/main" val="5212967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nl-NL" sz="900" b="0" cap="all" spc="80" baseline="0">
                          <a:solidFill>
                            <a:schemeClr val="bg1"/>
                          </a:solidFill>
                          <a:latin typeface="Open Sans Semibold" panose="020B0706030804020204" pitchFamily="34" charset="0"/>
                          <a:ea typeface="Open Sans Semibold" panose="020B0706030804020204" pitchFamily="34" charset="0"/>
                          <a:cs typeface="Open Sans Semibold" panose="020B0706030804020204" pitchFamily="34" charset="0"/>
                        </a:rPr>
                        <a:t>klantsegment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l-NL" sz="900" b="0" cap="all" spc="80" baseline="0">
                          <a:solidFill>
                            <a:schemeClr val="bg1"/>
                          </a:solidFill>
                          <a:latin typeface="Open Sans Semibold" panose="020B0706030804020204" pitchFamily="34" charset="0"/>
                          <a:ea typeface="Open Sans Semibold" panose="020B0706030804020204" pitchFamily="34" charset="0"/>
                          <a:cs typeface="Open Sans Semibold" panose="020B0706030804020204" pitchFamily="34" charset="0"/>
                        </a:rPr>
                        <a:t>Purpose met klantsegment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332764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nl-NL" sz="900">
                          <a:solidFill>
                            <a:schemeClr val="bg1"/>
                          </a:solidFill>
                          <a:latin typeface="Open Sans" pitchFamily="2" charset="0"/>
                          <a:ea typeface="Open Sans" pitchFamily="2" charset="0"/>
                          <a:cs typeface="Open Sans" pitchFamily="2" charset="0"/>
                        </a:rPr>
                        <a:t>Zorg</a:t>
                      </a: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l-NL" sz="900">
                          <a:solidFill>
                            <a:schemeClr val="bg1"/>
                          </a:solidFill>
                          <a:latin typeface="Open Sans" pitchFamily="2" charset="0"/>
                          <a:ea typeface="Open Sans" pitchFamily="2" charset="0"/>
                          <a:cs typeface="Open Sans" pitchFamily="2" charset="0"/>
                        </a:rPr>
                        <a:t>Financieren van sociale zorgprojecten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650334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nl-NL" sz="900">
                          <a:solidFill>
                            <a:schemeClr val="bg1"/>
                          </a:solidFill>
                          <a:latin typeface="Open Sans" pitchFamily="2" charset="0"/>
                          <a:ea typeface="Open Sans" pitchFamily="2" charset="0"/>
                          <a:cs typeface="Open Sans" pitchFamily="2" charset="0"/>
                        </a:rPr>
                        <a:t>Wonen</a:t>
                      </a: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l-NL" sz="900">
                          <a:solidFill>
                            <a:schemeClr val="bg1"/>
                          </a:solidFill>
                          <a:latin typeface="Open Sans" pitchFamily="2" charset="0"/>
                          <a:ea typeface="Open Sans" pitchFamily="2" charset="0"/>
                          <a:cs typeface="Open Sans" pitchFamily="2" charset="0"/>
                        </a:rPr>
                        <a:t>Financieren passende woonruimte voor nieuwe Nederlanders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127511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nl-NL" sz="900">
                          <a:solidFill>
                            <a:schemeClr val="bg1"/>
                          </a:solidFill>
                          <a:latin typeface="Open Sans" pitchFamily="2" charset="0"/>
                          <a:ea typeface="Open Sans" pitchFamily="2" charset="0"/>
                          <a:cs typeface="Open Sans" pitchFamily="2" charset="0"/>
                        </a:rPr>
                        <a:t>Decentrale overheid</a:t>
                      </a: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l-NL" sz="900">
                          <a:solidFill>
                            <a:schemeClr val="bg1"/>
                          </a:solidFill>
                          <a:latin typeface="Open Sans" pitchFamily="2" charset="0"/>
                          <a:ea typeface="Open Sans" pitchFamily="2" charset="0"/>
                          <a:cs typeface="Open Sans" pitchFamily="2" charset="0"/>
                        </a:rPr>
                        <a:t>Financiering speciale integratiesamenwerkingen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881665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nl-NL" sz="900">
                          <a:solidFill>
                            <a:schemeClr val="bg1"/>
                          </a:solidFill>
                          <a:latin typeface="Open Sans" pitchFamily="2" charset="0"/>
                          <a:ea typeface="Open Sans" pitchFamily="2" charset="0"/>
                          <a:cs typeface="Open Sans" pitchFamily="2" charset="0"/>
                        </a:rPr>
                        <a:t>Drinkwater</a:t>
                      </a: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l-NL" sz="900">
                          <a:solidFill>
                            <a:schemeClr val="bg1"/>
                          </a:solidFill>
                          <a:latin typeface="Open Sans" pitchFamily="2" charset="0"/>
                          <a:ea typeface="Open Sans" pitchFamily="2" charset="0"/>
                          <a:cs typeface="Open Sans" pitchFamily="2" charset="0"/>
                        </a:rPr>
                        <a:t>Financieren van werkplaatsprojecten (werkplek voor nieuwe Nederlanders)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655155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nl-NL" sz="900">
                          <a:solidFill>
                            <a:schemeClr val="bg1"/>
                          </a:solidFill>
                          <a:latin typeface="Open Sans" pitchFamily="2" charset="0"/>
                          <a:ea typeface="Open Sans" pitchFamily="2" charset="0"/>
                          <a:cs typeface="Open Sans" pitchFamily="2" charset="0"/>
                        </a:rPr>
                        <a:t>Waterschap</a:t>
                      </a: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l-NL" sz="900">
                          <a:solidFill>
                            <a:schemeClr val="bg1"/>
                          </a:solidFill>
                          <a:latin typeface="Open Sans" pitchFamily="2" charset="0"/>
                          <a:ea typeface="Open Sans" pitchFamily="2" charset="0"/>
                          <a:cs typeface="Open Sans" pitchFamily="2" charset="0"/>
                        </a:rPr>
                        <a:t>Financieren van opleidingsprojecten van medewerkers, en voor nieuwe Nederlanders (je komt in het land van water te wonen)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0572688"/>
                  </a:ext>
                </a:extLst>
              </a:tr>
            </a:tbl>
          </a:graphicData>
        </a:graphic>
      </p:graphicFrame>
      <p:sp>
        <p:nvSpPr>
          <p:cNvPr id="35" name="Content Placeholder 4">
            <a:extLst>
              <a:ext uri="{FF2B5EF4-FFF2-40B4-BE49-F238E27FC236}">
                <a16:creationId xmlns:a16="http://schemas.microsoft.com/office/drawing/2014/main" id="{92A24FFA-FC7C-10E5-547C-A082D21A1560}"/>
              </a:ext>
            </a:extLst>
          </p:cNvPr>
          <p:cNvSpPr txBox="1">
            <a:spLocks/>
          </p:cNvSpPr>
          <p:nvPr/>
        </p:nvSpPr>
        <p:spPr>
          <a:xfrm>
            <a:off x="3024244" y="1584087"/>
            <a:ext cx="2592000" cy="576000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</p:spPr>
        <p:txBody>
          <a:bodyPr wrap="square" lIns="72000" tIns="72000" rIns="36000" bIns="36000" rtlCol="0" anchor="t"/>
          <a:lstStyle>
            <a:defPPr>
              <a:defRPr lang="en-US"/>
            </a:defPPr>
            <a:lvl1pPr defTabSz="864007">
              <a:spcAft>
                <a:spcPts val="299"/>
              </a:spcAft>
              <a:defRPr sz="900" kern="0" spc="40">
                <a:latin typeface="+mj-lt"/>
                <a:ea typeface="Open Sans Semibold" panose="020B0706030804020204" pitchFamily="34" charset="0"/>
                <a:cs typeface="Calibri" panose="020F0502020204030204" pitchFamily="34" charset="0"/>
              </a:defRPr>
            </a:lvl1pPr>
            <a:lvl2pPr marL="266700" lvl="1" indent="-88900" defTabSz="863959">
              <a:spcBef>
                <a:spcPts val="300"/>
              </a:spcBef>
              <a:buClr>
                <a:srgbClr val="FFFFFF"/>
              </a:buClr>
              <a:buFont typeface="Wingdings" panose="05000000000000000000" pitchFamily="2" charset="2"/>
              <a:buChar char="§"/>
              <a:defRPr sz="900">
                <a:solidFill>
                  <a:srgbClr val="FFFFFF"/>
                </a:solidFill>
                <a:latin typeface="Open Sans"/>
                <a:ea typeface="Open Sans"/>
                <a:cs typeface="Open Sans"/>
              </a:defRPr>
            </a:lvl2pPr>
            <a:lvl3pPr marL="863959" defTabSz="863959">
              <a:defRPr sz="1701"/>
            </a:lvl3pPr>
            <a:lvl4pPr marL="1295938" defTabSz="863959">
              <a:defRPr sz="1701"/>
            </a:lvl4pPr>
            <a:lvl5pPr marL="1727917" defTabSz="863959">
              <a:defRPr sz="1701"/>
            </a:lvl5pPr>
            <a:lvl6pPr marL="2159896" defTabSz="863959">
              <a:defRPr sz="1701"/>
            </a:lvl6pPr>
            <a:lvl7pPr marL="2591875" defTabSz="863959">
              <a:defRPr sz="1701"/>
            </a:lvl7pPr>
            <a:lvl8pPr marL="3023854" defTabSz="863959">
              <a:defRPr sz="1701"/>
            </a:lvl8pPr>
            <a:lvl9pPr marL="3455833" defTabSz="863959">
              <a:defRPr sz="1701"/>
            </a:lvl9pPr>
          </a:lstStyle>
          <a:p>
            <a:r>
              <a:rPr lang="nl-NL">
                <a:latin typeface="Open Sans" pitchFamily="2" charset="0"/>
                <a:ea typeface="Open Sans" pitchFamily="2" charset="0"/>
                <a:cs typeface="Open Sans" pitchFamily="2" charset="0"/>
              </a:rPr>
              <a:t>Lening alleen als deze voldoet aan ons ESG beleid en projectresultaat moet afhankelijk zijn van ESG doelen (Moeten)</a:t>
            </a:r>
          </a:p>
        </p:txBody>
      </p:sp>
      <p:sp>
        <p:nvSpPr>
          <p:cNvPr id="40" name="Rectangle 78">
            <a:extLst>
              <a:ext uri="{FF2B5EF4-FFF2-40B4-BE49-F238E27FC236}">
                <a16:creationId xmlns:a16="http://schemas.microsoft.com/office/drawing/2014/main" id="{8DB92E7C-754B-8596-6F3C-E7B9F916BEE2}"/>
              </a:ext>
            </a:extLst>
          </p:cNvPr>
          <p:cNvSpPr/>
          <p:nvPr/>
        </p:nvSpPr>
        <p:spPr>
          <a:xfrm>
            <a:off x="5904244" y="1584086"/>
            <a:ext cx="2592000" cy="653115"/>
          </a:xfrm>
          <a:prstGeom prst="rect">
            <a:avLst/>
          </a:prstGeom>
          <a:noFill/>
          <a:ln w="15875" cap="flat" cmpd="sng" algn="ctr">
            <a:noFill/>
            <a:prstDash val="solid"/>
            <a:miter lim="800000"/>
          </a:ln>
          <a:effectLst/>
        </p:spPr>
        <p:txBody>
          <a:bodyPr wrap="square" lIns="72000" tIns="72000" rIns="36000" bIns="36000" rtlCol="0" anchor="t"/>
          <a:lstStyle/>
          <a:p>
            <a:pPr defTabSz="816400">
              <a:spcAft>
                <a:spcPts val="283"/>
              </a:spcAft>
            </a:pPr>
            <a:r>
              <a:rPr lang="nl-NL" sz="900" kern="0" cap="all" spc="38">
                <a:latin typeface="Open Sans" pitchFamily="2" charset="0"/>
                <a:ea typeface="Open Sans" pitchFamily="2" charset="0"/>
                <a:cs typeface="Open Sans" pitchFamily="2" charset="0"/>
              </a:rPr>
              <a:t>Return on </a:t>
            </a:r>
            <a:r>
              <a:rPr lang="nl-NL" sz="900" kern="0" cap="all" spc="38" err="1">
                <a:latin typeface="Open Sans" pitchFamily="2" charset="0"/>
                <a:ea typeface="Open Sans" pitchFamily="2" charset="0"/>
                <a:cs typeface="Open Sans" pitchFamily="2" charset="0"/>
              </a:rPr>
              <a:t>EnergY</a:t>
            </a:r>
            <a:r>
              <a:rPr lang="nl-NL" sz="900" kern="0" cap="all" spc="38">
                <a:latin typeface="Open Sans" pitchFamily="2" charset="0"/>
                <a:ea typeface="Open Sans" pitchFamily="2" charset="0"/>
                <a:cs typeface="Open Sans" pitchFamily="2" charset="0"/>
              </a:rPr>
              <a:t> (ROE)</a:t>
            </a:r>
          </a:p>
          <a:p>
            <a:pPr marL="85502" indent="-85502" defTabSz="816400">
              <a:spcBef>
                <a:spcPts val="283"/>
              </a:spcBef>
              <a:buClr>
                <a:schemeClr val="tx1">
                  <a:lumMod val="65000"/>
                  <a:lumOff val="35000"/>
                </a:schemeClr>
              </a:buClr>
              <a:buFont typeface="Arial" panose="020B0604020202020204" pitchFamily="34" charset="0"/>
              <a:buChar char="•"/>
            </a:pPr>
            <a:r>
              <a:rPr lang="nl-NL" sz="900" kern="0">
                <a:latin typeface="Open Sans" pitchFamily="2" charset="0"/>
                <a:ea typeface="Open Sans" pitchFamily="2" charset="0"/>
                <a:cs typeface="Open Sans" pitchFamily="2" charset="0"/>
              </a:rPr>
              <a:t>Na 5 jaar 0 op de meter</a:t>
            </a:r>
          </a:p>
          <a:p>
            <a:pPr marL="85502" indent="-85502" defTabSz="816400">
              <a:spcBef>
                <a:spcPts val="283"/>
              </a:spcBef>
              <a:buClr>
                <a:schemeClr val="tx1">
                  <a:lumMod val="65000"/>
                  <a:lumOff val="35000"/>
                </a:schemeClr>
              </a:buClr>
              <a:buFont typeface="Arial" panose="020B0604020202020204" pitchFamily="34" charset="0"/>
              <a:buChar char="•"/>
            </a:pPr>
            <a:r>
              <a:rPr lang="nl-NL" sz="900" kern="0">
                <a:latin typeface="Open Sans" pitchFamily="2" charset="0"/>
                <a:ea typeface="Open Sans" pitchFamily="2" charset="0"/>
                <a:cs typeface="Open Sans" pitchFamily="2" charset="0"/>
              </a:rPr>
              <a:t>Na 10 jaar initiële bouw inverdiend</a:t>
            </a:r>
          </a:p>
        </p:txBody>
      </p:sp>
      <p:graphicFrame>
        <p:nvGraphicFramePr>
          <p:cNvPr id="41" name="Tabel 2">
            <a:extLst>
              <a:ext uri="{FF2B5EF4-FFF2-40B4-BE49-F238E27FC236}">
                <a16:creationId xmlns:a16="http://schemas.microsoft.com/office/drawing/2014/main" id="{7BA5EF57-D0F3-ACD2-16F1-1A631E13FB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8004368"/>
              </p:ext>
            </p:extLst>
          </p:nvPr>
        </p:nvGraphicFramePr>
        <p:xfrm>
          <a:off x="5976244" y="4248087"/>
          <a:ext cx="5040000" cy="198120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497982">
                  <a:extLst>
                    <a:ext uri="{9D8B030D-6E8A-4147-A177-3AD203B41FA5}">
                      <a16:colId xmlns:a16="http://schemas.microsoft.com/office/drawing/2014/main" val="2667108964"/>
                    </a:ext>
                  </a:extLst>
                </a:gridCol>
                <a:gridCol w="3542018">
                  <a:extLst>
                    <a:ext uri="{9D8B030D-6E8A-4147-A177-3AD203B41FA5}">
                      <a16:colId xmlns:a16="http://schemas.microsoft.com/office/drawing/2014/main" val="5212967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nl-NL" sz="1000" spc="80" baseline="0">
                          <a:solidFill>
                            <a:schemeClr val="bg1"/>
                          </a:solidFill>
                          <a:latin typeface="Open Sans Semibold" panose="020B0706030804020204" pitchFamily="34" charset="0"/>
                          <a:ea typeface="Open Sans Semibold" panose="020B0706030804020204" pitchFamily="34" charset="0"/>
                          <a:cs typeface="Open Sans Semibold" panose="020B0706030804020204" pitchFamily="34" charset="0"/>
                        </a:rPr>
                        <a:t>‘WILLEN’ THEMA’S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l-NL" sz="1000" spc="80" baseline="0">
                          <a:solidFill>
                            <a:schemeClr val="bg1"/>
                          </a:solidFill>
                          <a:latin typeface="Open Sans Semibold" panose="020B0706030804020204" pitchFamily="34" charset="0"/>
                          <a:ea typeface="Open Sans Semibold" panose="020B0706030804020204" pitchFamily="34" charset="0"/>
                          <a:cs typeface="Open Sans Semibold" panose="020B0706030804020204" pitchFamily="34" charset="0"/>
                        </a:rPr>
                        <a:t>IMPACT DOELEN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332764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nl-NL" sz="900">
                          <a:solidFill>
                            <a:schemeClr val="bg1"/>
                          </a:solidFill>
                          <a:latin typeface="Open Sans" pitchFamily="2" charset="0"/>
                          <a:ea typeface="Open Sans" pitchFamily="2" charset="0"/>
                          <a:cs typeface="Open Sans" pitchFamily="2" charset="0"/>
                        </a:rPr>
                        <a:t>80% nieuwe NL’er doet echt mee</a:t>
                      </a: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l-NL" sz="900">
                          <a:solidFill>
                            <a:schemeClr val="bg1"/>
                          </a:solidFill>
                          <a:latin typeface="Open Sans" pitchFamily="2" charset="0"/>
                          <a:ea typeface="Open Sans" pitchFamily="2" charset="0"/>
                          <a:cs typeface="Open Sans" pitchFamily="2" charset="0"/>
                        </a:rPr>
                        <a:t>80% van de nieuwe Nederlanders doet mee in de sociale maatschappij, heeft baan, doet aan sport, heeft een sociaal netwerk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650334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nl-NL" sz="900">
                          <a:solidFill>
                            <a:schemeClr val="bg1"/>
                          </a:solidFill>
                          <a:latin typeface="Open Sans" pitchFamily="2" charset="0"/>
                          <a:ea typeface="Open Sans" pitchFamily="2" charset="0"/>
                          <a:cs typeface="Open Sans" pitchFamily="2" charset="0"/>
                        </a:rPr>
                        <a:t>100% van de psychische zorg is gericht op meedoen</a:t>
                      </a: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l-NL" sz="900">
                          <a:solidFill>
                            <a:schemeClr val="bg1"/>
                          </a:solidFill>
                          <a:latin typeface="Open Sans" pitchFamily="2" charset="0"/>
                          <a:ea typeface="Open Sans" pitchFamily="2" charset="0"/>
                          <a:cs typeface="Open Sans" pitchFamily="2" charset="0"/>
                        </a:rPr>
                        <a:t>Er ontstaat een community van bewoners, waarin iedereen beschermd en veilig kan wonen (geen verwarde buurman steekt vrouw neer)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127511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nl-NL" sz="900">
                          <a:solidFill>
                            <a:schemeClr val="bg1"/>
                          </a:solidFill>
                          <a:latin typeface="Open Sans" pitchFamily="2" charset="0"/>
                          <a:ea typeface="Open Sans" pitchFamily="2" charset="0"/>
                          <a:cs typeface="Open Sans" pitchFamily="2" charset="0"/>
                        </a:rPr>
                        <a:t>Duurzaam bouwen</a:t>
                      </a: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l-NL" sz="900">
                          <a:solidFill>
                            <a:schemeClr val="bg1"/>
                          </a:solidFill>
                          <a:latin typeface="Open Sans" pitchFamily="2" charset="0"/>
                          <a:ea typeface="Open Sans" pitchFamily="2" charset="0"/>
                          <a:cs typeface="Open Sans" pitchFamily="2" charset="0"/>
                        </a:rPr>
                        <a:t>Wij zijn de veiligste bouwer van NL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881665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nl-NL" sz="900" err="1">
                          <a:solidFill>
                            <a:schemeClr val="bg1"/>
                          </a:solidFill>
                          <a:latin typeface="Open Sans" pitchFamily="2" charset="0"/>
                          <a:ea typeface="Open Sans" pitchFamily="2" charset="0"/>
                          <a:cs typeface="Open Sans" pitchFamily="2" charset="0"/>
                        </a:rPr>
                        <a:t>Energieproducerend</a:t>
                      </a:r>
                      <a:r>
                        <a:rPr lang="nl-NL" sz="900">
                          <a:solidFill>
                            <a:schemeClr val="bg1"/>
                          </a:solidFill>
                          <a:latin typeface="Open Sans" pitchFamily="2" charset="0"/>
                          <a:ea typeface="Open Sans" pitchFamily="2" charset="0"/>
                          <a:cs typeface="Open Sans" pitchFamily="2" charset="0"/>
                        </a:rPr>
                        <a:t> zijn</a:t>
                      </a: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l-NL" sz="900">
                          <a:solidFill>
                            <a:schemeClr val="bg1"/>
                          </a:solidFill>
                          <a:latin typeface="Open Sans" pitchFamily="2" charset="0"/>
                          <a:ea typeface="Open Sans" pitchFamily="2" charset="0"/>
                          <a:cs typeface="Open Sans" pitchFamily="2" charset="0"/>
                        </a:rPr>
                        <a:t>We beperken ons gebruik en maximaliseren onze opbrengsten, bijv. door zonnepanelen, warmtepomp, regenwater doospoelen, putten.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6551550"/>
                  </a:ext>
                </a:extLst>
              </a:tr>
            </a:tbl>
          </a:graphicData>
        </a:graphic>
      </p:graphicFrame>
      <p:pic>
        <p:nvPicPr>
          <p:cNvPr id="45" name="Picture 2">
            <a:extLst>
              <a:ext uri="{FF2B5EF4-FFF2-40B4-BE49-F238E27FC236}">
                <a16:creationId xmlns:a16="http://schemas.microsoft.com/office/drawing/2014/main" id="{96EBD3F1-B798-0457-E873-6A1B6CF545CC}"/>
              </a:ext>
            </a:extLst>
          </p:cNvPr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58" r="11058"/>
          <a:stretch/>
        </p:blipFill>
        <p:spPr bwMode="auto">
          <a:xfrm>
            <a:off x="5976244" y="2232086"/>
            <a:ext cx="2592000" cy="1872000"/>
          </a:xfrm>
          <a:prstGeom prst="roundRect">
            <a:avLst>
              <a:gd name="adj" fmla="val 454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Content Placeholder 4">
            <a:extLst>
              <a:ext uri="{FF2B5EF4-FFF2-40B4-BE49-F238E27FC236}">
                <a16:creationId xmlns:a16="http://schemas.microsoft.com/office/drawing/2014/main" id="{55730752-3F74-B06B-AE9D-E078D936C0CF}"/>
              </a:ext>
            </a:extLst>
          </p:cNvPr>
          <p:cNvSpPr txBox="1">
            <a:spLocks/>
          </p:cNvSpPr>
          <p:nvPr/>
        </p:nvSpPr>
        <p:spPr>
          <a:xfrm>
            <a:off x="8568244" y="1584087"/>
            <a:ext cx="2520000" cy="2592000"/>
          </a:xfrm>
          <a:prstGeom prst="rect">
            <a:avLst/>
          </a:prstGeom>
          <a:noFill/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72000" tIns="72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nl-NL"/>
            </a:defPPr>
            <a:lvl1pPr marL="143510" lvl="0" indent="-143510" defTabSz="863959">
              <a:spcBef>
                <a:spcPts val="600"/>
              </a:spcBef>
              <a:buClr>
                <a:srgbClr val="FFFFFF"/>
              </a:buClr>
              <a:buFont typeface="Wingdings" panose="05000000000000000000" pitchFamily="2" charset="2"/>
              <a:buChar char="§"/>
              <a:defRPr sz="1100">
                <a:solidFill>
                  <a:srgbClr val="FFFFFF"/>
                </a:solidFill>
                <a:latin typeface="Open Sans"/>
                <a:ea typeface="Open Sans"/>
                <a:cs typeface="Open Sans"/>
              </a:defRPr>
            </a:lvl1pPr>
            <a:lvl2pPr marL="266700" lvl="1" indent="-88900" defTabSz="863959">
              <a:spcBef>
                <a:spcPts val="300"/>
              </a:spcBef>
              <a:buClr>
                <a:srgbClr val="FFFFFF"/>
              </a:buClr>
              <a:buFont typeface="Wingdings" panose="05000000000000000000" pitchFamily="2" charset="2"/>
              <a:buChar char="§"/>
              <a:defRPr sz="900">
                <a:solidFill>
                  <a:srgbClr val="FFFFFF"/>
                </a:solidFill>
                <a:latin typeface="Open Sans"/>
                <a:ea typeface="Open Sans"/>
                <a:cs typeface="Open Sans"/>
              </a:defRPr>
            </a:lvl2pPr>
            <a:lvl3pPr marL="863959" defTabSz="863959">
              <a:defRPr sz="1701"/>
            </a:lvl3pPr>
            <a:lvl4pPr marL="1295938" defTabSz="863959">
              <a:defRPr sz="1701"/>
            </a:lvl4pPr>
            <a:lvl5pPr marL="1727917" defTabSz="863959">
              <a:defRPr sz="1701"/>
            </a:lvl5pPr>
            <a:lvl6pPr marL="2159896" defTabSz="863959">
              <a:defRPr sz="1701"/>
            </a:lvl6pPr>
            <a:lvl7pPr marL="2591875" defTabSz="863959">
              <a:defRPr sz="1701"/>
            </a:lvl7pPr>
            <a:lvl8pPr marL="3023854" defTabSz="863959">
              <a:defRPr sz="1701"/>
            </a:lvl8pPr>
            <a:lvl9pPr marL="3455833" defTabSz="863959">
              <a:defRPr sz="1701"/>
            </a:lvl9pPr>
          </a:lstStyle>
          <a:p>
            <a:pPr marL="0" indent="0">
              <a:buClr>
                <a:schemeClr val="tx1">
                  <a:lumMod val="75000"/>
                  <a:lumOff val="25000"/>
                </a:schemeClr>
              </a:buClr>
              <a:buNone/>
            </a:pPr>
            <a:r>
              <a:rPr lang="nl-NL" sz="900">
                <a:solidFill>
                  <a:schemeClr val="tx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Passende woningen voor nieuwe Nederlanders die na 10 jaar energieneutraal zijn (incl. bouw)</a:t>
            </a:r>
          </a:p>
          <a:p>
            <a:pPr marL="85502" indent="-85502" defTabSz="816400">
              <a:spcBef>
                <a:spcPts val="283"/>
              </a:spcBef>
              <a:buClr>
                <a:schemeClr val="tx1">
                  <a:lumMod val="65000"/>
                  <a:lumOff val="35000"/>
                </a:schemeClr>
              </a:buClr>
              <a:buFont typeface="Arial" panose="020B0604020202020204" pitchFamily="34" charset="0"/>
              <a:buChar char="•"/>
            </a:pPr>
            <a:r>
              <a:rPr lang="nl-NL" sz="900" kern="0">
                <a:solidFill>
                  <a:schemeClr val="tx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Bouwen speciale woningen (na 10 jaar moeten ze weg)</a:t>
            </a:r>
          </a:p>
          <a:p>
            <a:pPr marL="85502" indent="-85502" defTabSz="816400">
              <a:spcBef>
                <a:spcPts val="283"/>
              </a:spcBef>
              <a:buClr>
                <a:schemeClr val="tx1">
                  <a:lumMod val="65000"/>
                  <a:lumOff val="35000"/>
                </a:schemeClr>
              </a:buClr>
              <a:buFont typeface="Arial" panose="020B0604020202020204" pitchFamily="34" charset="0"/>
              <a:buChar char="•"/>
            </a:pPr>
            <a:r>
              <a:rPr lang="nl-NL" sz="900" kern="0">
                <a:solidFill>
                  <a:schemeClr val="tx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Alle bouwvaardigheden in huis</a:t>
            </a:r>
          </a:p>
          <a:p>
            <a:pPr lvl="1" indent="-84138"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</a:pPr>
            <a:r>
              <a:rPr lang="nl-NL">
                <a:solidFill>
                  <a:schemeClr val="tx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Ontwerp / architectuur /bouw</a:t>
            </a:r>
          </a:p>
          <a:p>
            <a:pPr lvl="1" indent="-84138"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</a:pPr>
            <a:r>
              <a:rPr lang="nl-NL">
                <a:solidFill>
                  <a:schemeClr val="tx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Huren grond projectontwikkelaar</a:t>
            </a:r>
          </a:p>
          <a:p>
            <a:pPr lvl="1" indent="-84138"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</a:pPr>
            <a:r>
              <a:rPr lang="nl-NL">
                <a:solidFill>
                  <a:schemeClr val="tx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Service 10 jaar lang</a:t>
            </a:r>
          </a:p>
          <a:p>
            <a:pPr marL="85502" indent="-85502" defTabSz="816400">
              <a:spcBef>
                <a:spcPts val="283"/>
              </a:spcBef>
              <a:buClr>
                <a:schemeClr val="tx1">
                  <a:lumMod val="65000"/>
                  <a:lumOff val="35000"/>
                </a:schemeClr>
              </a:buClr>
              <a:buFont typeface="Arial" panose="020B0604020202020204" pitchFamily="34" charset="0"/>
              <a:buChar char="•"/>
            </a:pPr>
            <a:r>
              <a:rPr lang="nl-NL" sz="900" kern="0">
                <a:solidFill>
                  <a:schemeClr val="tx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Groot wagenpark (auto’s, bussen, vrachtwagens)</a:t>
            </a:r>
          </a:p>
          <a:p>
            <a:pPr marL="85502" indent="-85502" defTabSz="816400">
              <a:spcBef>
                <a:spcPts val="283"/>
              </a:spcBef>
              <a:buClr>
                <a:schemeClr val="tx1">
                  <a:lumMod val="65000"/>
                  <a:lumOff val="35000"/>
                </a:schemeClr>
              </a:buClr>
              <a:buFont typeface="Arial" panose="020B0604020202020204" pitchFamily="34" charset="0"/>
              <a:buChar char="•"/>
            </a:pPr>
            <a:r>
              <a:rPr lang="nl-NL" sz="900" kern="0">
                <a:solidFill>
                  <a:schemeClr val="tx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Met veel afval</a:t>
            </a:r>
          </a:p>
          <a:p>
            <a:pPr marL="85502" indent="-85502" defTabSz="816400">
              <a:spcBef>
                <a:spcPts val="283"/>
              </a:spcBef>
              <a:buClr>
                <a:schemeClr val="tx1">
                  <a:lumMod val="65000"/>
                  <a:lumOff val="35000"/>
                </a:schemeClr>
              </a:buClr>
              <a:buFont typeface="Arial" panose="020B0604020202020204" pitchFamily="34" charset="0"/>
              <a:buChar char="•"/>
            </a:pPr>
            <a:r>
              <a:rPr lang="nl-NL" sz="900" kern="0">
                <a:solidFill>
                  <a:schemeClr val="tx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Circulair bouwen waarbij 50% van oude woningen wordt hergebruikt voor nieuwe</a:t>
            </a:r>
          </a:p>
          <a:p>
            <a:pPr>
              <a:buClr>
                <a:schemeClr val="tx1">
                  <a:lumMod val="75000"/>
                  <a:lumOff val="25000"/>
                </a:schemeClr>
              </a:buClr>
            </a:pPr>
            <a:endParaRPr lang="nl-NL" sz="945">
              <a:solidFill>
                <a:schemeClr val="tx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38" name="Rechthoek: afgeronde hoeken 37">
            <a:extLst>
              <a:ext uri="{FF2B5EF4-FFF2-40B4-BE49-F238E27FC236}">
                <a16:creationId xmlns:a16="http://schemas.microsoft.com/office/drawing/2014/main" id="{0F22A7CA-3C37-25DC-1FA1-2E464F62253A}"/>
              </a:ext>
            </a:extLst>
          </p:cNvPr>
          <p:cNvSpPr/>
          <p:nvPr/>
        </p:nvSpPr>
        <p:spPr>
          <a:xfrm>
            <a:off x="3005473" y="2232086"/>
            <a:ext cx="2519998" cy="1871999"/>
          </a:xfrm>
          <a:prstGeom prst="roundRect">
            <a:avLst>
              <a:gd name="adj" fmla="val 4045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36000" bIns="36000" rtlCol="0" anchor="t"/>
          <a:lstStyle/>
          <a:p>
            <a:r>
              <a:rPr lang="nl-NL" sz="900">
                <a:solidFill>
                  <a:schemeClr val="tx1">
                    <a:lumMod val="50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Cruciale drivers voor financiering project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NL" sz="900">
                <a:solidFill>
                  <a:schemeClr val="tx1">
                    <a:lumMod val="50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Tevreden huurders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NL" sz="900">
                <a:solidFill>
                  <a:schemeClr val="tx1">
                    <a:lumMod val="50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Toegankelijkheid woning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NL" sz="900">
                <a:solidFill>
                  <a:schemeClr val="tx1">
                    <a:lumMod val="50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Mix van bewoners (flexibiliteit van de bouw)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NL" sz="900" err="1">
                <a:solidFill>
                  <a:schemeClr val="tx1">
                    <a:lumMod val="50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Energielabels</a:t>
            </a:r>
            <a:endParaRPr lang="nl-NL" sz="900">
              <a:solidFill>
                <a:schemeClr val="tx1">
                  <a:lumMod val="50000"/>
                </a:schemeClr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NL" sz="900">
                <a:solidFill>
                  <a:schemeClr val="tx1">
                    <a:lumMod val="50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Geïsoleerd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NL" sz="900">
                <a:solidFill>
                  <a:schemeClr val="tx1">
                    <a:lumMod val="50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Zonnepanelen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NL" sz="900">
                <a:solidFill>
                  <a:schemeClr val="tx1">
                    <a:lumMod val="50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Bodemvervuiling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NL" sz="900">
                <a:solidFill>
                  <a:schemeClr val="tx1">
                    <a:lumMod val="50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Afvalstromen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NL" sz="900">
                <a:solidFill>
                  <a:schemeClr val="tx1">
                    <a:lumMod val="50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% aangesloten op het warmtenet</a:t>
            </a:r>
          </a:p>
          <a:p>
            <a:pPr marL="92075" indent="-92075">
              <a:buFont typeface="Wingdings" panose="05000000000000000000" pitchFamily="2" charset="2"/>
              <a:buChar char="§"/>
            </a:pPr>
            <a:r>
              <a:rPr lang="nl-NL" sz="900">
                <a:solidFill>
                  <a:schemeClr val="tx1">
                    <a:lumMod val="50000"/>
                  </a:schemeClr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Circulair bouwen 50% minimaal (hele LCA)</a:t>
            </a:r>
          </a:p>
          <a:p>
            <a:endParaRPr lang="nl-NL" sz="900">
              <a:solidFill>
                <a:schemeClr val="tx1">
                  <a:lumMod val="50000"/>
                </a:schemeClr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 algn="ctr"/>
            <a:endParaRPr lang="nl-NL" sz="900">
              <a:solidFill>
                <a:schemeClr val="tx1">
                  <a:lumMod val="50000"/>
                </a:schemeClr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3" name="Rechthoek: afgeronde hoeken 2">
            <a:extLst>
              <a:ext uri="{FF2B5EF4-FFF2-40B4-BE49-F238E27FC236}">
                <a16:creationId xmlns:a16="http://schemas.microsoft.com/office/drawing/2014/main" id="{5531FB67-8AD3-95A4-9107-5EA85F5EC636}"/>
              </a:ext>
            </a:extLst>
          </p:cNvPr>
          <p:cNvSpPr/>
          <p:nvPr/>
        </p:nvSpPr>
        <p:spPr>
          <a:xfrm>
            <a:off x="5896708" y="5496707"/>
            <a:ext cx="5039994" cy="238858"/>
          </a:xfrm>
          <a:prstGeom prst="roundRect">
            <a:avLst>
              <a:gd name="adj" fmla="val 0"/>
            </a:avLst>
          </a:prstGeom>
          <a:noFill/>
          <a:ln w="19050">
            <a:solidFill>
              <a:srgbClr val="FFC000"/>
            </a:solidFill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07"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cxnSp>
        <p:nvCxnSpPr>
          <p:cNvPr id="5" name="Rechte verbindingslijn met pijl 4">
            <a:extLst>
              <a:ext uri="{FF2B5EF4-FFF2-40B4-BE49-F238E27FC236}">
                <a16:creationId xmlns:a16="http://schemas.microsoft.com/office/drawing/2014/main" id="{EDC39727-47A0-9645-D734-C7E677FDEF10}"/>
              </a:ext>
            </a:extLst>
          </p:cNvPr>
          <p:cNvCxnSpPr>
            <a:cxnSpLocks/>
          </p:cNvCxnSpPr>
          <p:nvPr/>
        </p:nvCxnSpPr>
        <p:spPr>
          <a:xfrm flipV="1">
            <a:off x="10677908" y="3842535"/>
            <a:ext cx="0" cy="1654172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5" name="Rechthoek 54">
            <a:extLst>
              <a:ext uri="{FF2B5EF4-FFF2-40B4-BE49-F238E27FC236}">
                <a16:creationId xmlns:a16="http://schemas.microsoft.com/office/drawing/2014/main" id="{CCD0727B-D535-D8FC-8A9A-EC9430C4307A}"/>
              </a:ext>
            </a:extLst>
          </p:cNvPr>
          <p:cNvSpPr/>
          <p:nvPr/>
        </p:nvSpPr>
        <p:spPr>
          <a:xfrm>
            <a:off x="5904244" y="1224087"/>
            <a:ext cx="5184000" cy="360000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nl-NL" sz="900" cap="all" spc="8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Bouwen en verhuren tijdelijke woningen voor nieuwe Nederlanders</a:t>
            </a:r>
          </a:p>
        </p:txBody>
      </p:sp>
      <p:sp>
        <p:nvSpPr>
          <p:cNvPr id="37" name="Rechthoek 36">
            <a:extLst>
              <a:ext uri="{FF2B5EF4-FFF2-40B4-BE49-F238E27FC236}">
                <a16:creationId xmlns:a16="http://schemas.microsoft.com/office/drawing/2014/main" id="{99F745A7-4FEC-9EC4-C35A-189576EAD413}"/>
              </a:ext>
            </a:extLst>
          </p:cNvPr>
          <p:cNvSpPr/>
          <p:nvPr/>
        </p:nvSpPr>
        <p:spPr>
          <a:xfrm>
            <a:off x="432244" y="1224087"/>
            <a:ext cx="5184000" cy="360000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nl-NL" sz="900" cap="all" spc="8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Leveren financieringsoplossingen met sociaal oogmerk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760AFEB-1FEB-F45E-6742-26BF21BE2A18}"/>
              </a:ext>
            </a:extLst>
          </p:cNvPr>
          <p:cNvGrpSpPr/>
          <p:nvPr/>
        </p:nvGrpSpPr>
        <p:grpSpPr>
          <a:xfrm>
            <a:off x="583393" y="2304087"/>
            <a:ext cx="928851" cy="625028"/>
            <a:chOff x="249151" y="2695760"/>
            <a:chExt cx="928851" cy="625028"/>
          </a:xfrm>
        </p:grpSpPr>
        <p:sp>
          <p:nvSpPr>
            <p:cNvPr id="47" name="Rechthoek: afgeronde hoeken 46">
              <a:extLst>
                <a:ext uri="{FF2B5EF4-FFF2-40B4-BE49-F238E27FC236}">
                  <a16:creationId xmlns:a16="http://schemas.microsoft.com/office/drawing/2014/main" id="{DBB72C8D-64F1-A2BF-4E66-EDF456C00337}"/>
                </a:ext>
              </a:extLst>
            </p:cNvPr>
            <p:cNvSpPr/>
            <p:nvPr/>
          </p:nvSpPr>
          <p:spPr>
            <a:xfrm>
              <a:off x="249151" y="2695760"/>
              <a:ext cx="894667" cy="534988"/>
            </a:xfrm>
            <a:prstGeom prst="roundRect">
              <a:avLst>
                <a:gd name="adj" fmla="val 12367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7">
                <a:latin typeface="Open Sans" pitchFamily="2" charset="0"/>
                <a:ea typeface="Open Sans" pitchFamily="2" charset="0"/>
                <a:cs typeface="Open Sans" pitchFamily="2" charset="0"/>
              </a:endParaRPr>
            </a:p>
          </p:txBody>
        </p:sp>
        <p:pic>
          <p:nvPicPr>
            <p:cNvPr id="43" name="Afbeelding 42">
              <a:extLst>
                <a:ext uri="{FF2B5EF4-FFF2-40B4-BE49-F238E27FC236}">
                  <a16:creationId xmlns:a16="http://schemas.microsoft.com/office/drawing/2014/main" id="{2C7424AC-C79D-396D-C94A-DEFB66596DD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58265" y="2725761"/>
              <a:ext cx="919737" cy="595027"/>
            </a:xfrm>
            <a:prstGeom prst="rect">
              <a:avLst/>
            </a:prstGeom>
          </p:spPr>
        </p:pic>
      </p:grpSp>
      <p:sp>
        <p:nvSpPr>
          <p:cNvPr id="30" name="Rechthoek: afgeronde hoeken 29">
            <a:extLst>
              <a:ext uri="{FF2B5EF4-FFF2-40B4-BE49-F238E27FC236}">
                <a16:creationId xmlns:a16="http://schemas.microsoft.com/office/drawing/2014/main" id="{1705C142-5E28-E166-A7DC-AE554CF43D1C}"/>
              </a:ext>
            </a:extLst>
          </p:cNvPr>
          <p:cNvSpPr/>
          <p:nvPr/>
        </p:nvSpPr>
        <p:spPr>
          <a:xfrm>
            <a:off x="9288292" y="191229"/>
            <a:ext cx="894667" cy="534988"/>
          </a:xfrm>
          <a:prstGeom prst="roundRect">
            <a:avLst>
              <a:gd name="adj" fmla="val 123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07"/>
          </a:p>
        </p:txBody>
      </p:sp>
      <p:pic>
        <p:nvPicPr>
          <p:cNvPr id="31" name="Afbeelding 30">
            <a:extLst>
              <a:ext uri="{FF2B5EF4-FFF2-40B4-BE49-F238E27FC236}">
                <a16:creationId xmlns:a16="http://schemas.microsoft.com/office/drawing/2014/main" id="{DAB59EC7-0021-791D-5FE8-CB0F749BB55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89733" y="214256"/>
            <a:ext cx="979311" cy="627912"/>
          </a:xfrm>
          <a:prstGeom prst="rect">
            <a:avLst/>
          </a:prstGeom>
        </p:spPr>
      </p:pic>
      <p:sp>
        <p:nvSpPr>
          <p:cNvPr id="32" name="Rechthoek: afgeronde hoeken 31">
            <a:extLst>
              <a:ext uri="{FF2B5EF4-FFF2-40B4-BE49-F238E27FC236}">
                <a16:creationId xmlns:a16="http://schemas.microsoft.com/office/drawing/2014/main" id="{3FED5B3F-7049-71A8-A613-7D81AFFA81DB}"/>
              </a:ext>
            </a:extLst>
          </p:cNvPr>
          <p:cNvSpPr/>
          <p:nvPr/>
        </p:nvSpPr>
        <p:spPr>
          <a:xfrm>
            <a:off x="10395016" y="193111"/>
            <a:ext cx="894667" cy="534988"/>
          </a:xfrm>
          <a:prstGeom prst="roundRect">
            <a:avLst>
              <a:gd name="adj" fmla="val 123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07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1970A37-3A81-B0EC-FD8C-B2E9C86D5240}"/>
              </a:ext>
            </a:extLst>
          </p:cNvPr>
          <p:cNvGrpSpPr/>
          <p:nvPr/>
        </p:nvGrpSpPr>
        <p:grpSpPr>
          <a:xfrm>
            <a:off x="6067496" y="2304087"/>
            <a:ext cx="988748" cy="639912"/>
            <a:chOff x="6022272" y="2551760"/>
            <a:chExt cx="988748" cy="639912"/>
          </a:xfrm>
        </p:grpSpPr>
        <p:sp>
          <p:nvSpPr>
            <p:cNvPr id="49" name="Rechthoek: afgeronde hoeken 48">
              <a:extLst>
                <a:ext uri="{FF2B5EF4-FFF2-40B4-BE49-F238E27FC236}">
                  <a16:creationId xmlns:a16="http://schemas.microsoft.com/office/drawing/2014/main" id="{2FE8E7B7-C2E0-8553-5166-E3DBE881E4DA}"/>
                </a:ext>
              </a:extLst>
            </p:cNvPr>
            <p:cNvSpPr/>
            <p:nvPr/>
          </p:nvSpPr>
          <p:spPr>
            <a:xfrm>
              <a:off x="6022272" y="2551760"/>
              <a:ext cx="894667" cy="534988"/>
            </a:xfrm>
            <a:prstGeom prst="roundRect">
              <a:avLst>
                <a:gd name="adj" fmla="val 12367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07">
                <a:latin typeface="Open Sans" pitchFamily="2" charset="0"/>
                <a:ea typeface="Open Sans" pitchFamily="2" charset="0"/>
                <a:cs typeface="Open Sans" pitchFamily="2" charset="0"/>
              </a:endParaRPr>
            </a:p>
          </p:txBody>
        </p:sp>
        <p:pic>
          <p:nvPicPr>
            <p:cNvPr id="50" name="Afbeelding 49">
              <a:extLst>
                <a:ext uri="{FF2B5EF4-FFF2-40B4-BE49-F238E27FC236}">
                  <a16:creationId xmlns:a16="http://schemas.microsoft.com/office/drawing/2014/main" id="{7109F1CD-9B3A-13D0-4A2E-7E18D59058F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031709" y="2563760"/>
              <a:ext cx="979311" cy="627912"/>
            </a:xfrm>
            <a:prstGeom prst="rect">
              <a:avLst/>
            </a:prstGeom>
          </p:spPr>
        </p:pic>
      </p:grpSp>
      <p:pic>
        <p:nvPicPr>
          <p:cNvPr id="33" name="Afbeelding 32">
            <a:extLst>
              <a:ext uri="{FF2B5EF4-FFF2-40B4-BE49-F238E27FC236}">
                <a16:creationId xmlns:a16="http://schemas.microsoft.com/office/drawing/2014/main" id="{8293714E-561E-CBA4-9DCD-39931C0DA26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69733" y="214256"/>
            <a:ext cx="1050754" cy="67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553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19" grpId="0" animBg="1"/>
      <p:bldP spid="22" grpId="0" animBg="1"/>
      <p:bldP spid="18" grpId="0" animBg="1"/>
      <p:bldP spid="34" grpId="0"/>
      <p:bldP spid="35" grpId="0"/>
      <p:bldP spid="40" grpId="0"/>
      <p:bldP spid="46" grpId="0"/>
      <p:bldP spid="38" grpId="0" animBg="1"/>
      <p:bldP spid="3" grpId="0" animBg="1"/>
      <p:bldP spid="55" grpId="0" animBg="1"/>
      <p:bldP spid="37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7" name="Straight Connector 196">
            <a:extLst>
              <a:ext uri="{FF2B5EF4-FFF2-40B4-BE49-F238E27FC236}">
                <a16:creationId xmlns:a16="http://schemas.microsoft.com/office/drawing/2014/main" id="{213BB287-57C3-5CE1-0D3E-A91B40CDAFB0}"/>
              </a:ext>
            </a:extLst>
          </p:cNvPr>
          <p:cNvCxnSpPr>
            <a:cxnSpLocks/>
          </p:cNvCxnSpPr>
          <p:nvPr/>
        </p:nvCxnSpPr>
        <p:spPr>
          <a:xfrm>
            <a:off x="1872244" y="1224000"/>
            <a:ext cx="6768000" cy="0"/>
          </a:xfrm>
          <a:prstGeom prst="line">
            <a:avLst/>
          </a:prstGeom>
          <a:noFill/>
          <a:ln w="9525" cap="rnd" cmpd="sng" algn="ctr">
            <a:solidFill>
              <a:schemeClr val="bg2">
                <a:lumMod val="75000"/>
              </a:schemeClr>
            </a:solidFill>
            <a:prstDash val="solid"/>
            <a:round/>
            <a:headEnd type="oval"/>
            <a:tailEnd type="oval"/>
          </a:ln>
          <a:effectLst/>
        </p:spPr>
      </p:cxn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D9A041E4-178B-D426-BA5A-5C68C90DC6A6}"/>
              </a:ext>
            </a:extLst>
          </p:cNvPr>
          <p:cNvCxnSpPr>
            <a:cxnSpLocks/>
          </p:cNvCxnSpPr>
          <p:nvPr/>
        </p:nvCxnSpPr>
        <p:spPr>
          <a:xfrm>
            <a:off x="11088244" y="1092528"/>
            <a:ext cx="0" cy="5102422"/>
          </a:xfrm>
          <a:prstGeom prst="line">
            <a:avLst/>
          </a:prstGeom>
          <a:noFill/>
          <a:ln w="22225" cap="rnd" cmpd="sng" algn="ctr">
            <a:solidFill>
              <a:srgbClr val="FFFFFF">
                <a:lumMod val="85000"/>
              </a:srgbClr>
            </a:solidFill>
            <a:prstDash val="sysDot"/>
            <a:round/>
          </a:ln>
          <a:effectLst/>
        </p:spPr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096660B-8B43-4B5C-A782-C5D8F36F9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2D01A-ED25-4F30-894A-E32B487BCBA5}" type="slidenum">
              <a:rPr lang="nl-NL" smtClean="0"/>
              <a:pPr/>
              <a:t>23</a:t>
            </a:fld>
            <a:endParaRPr lang="nl-NL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FB13B6F9-E5A1-FA36-3362-A9018F653E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2400">
                <a:solidFill>
                  <a:srgbClr val="00B050"/>
                </a:solidFill>
                <a:latin typeface="Open Sans"/>
                <a:ea typeface="Open Sans"/>
                <a:cs typeface="Open Sans"/>
              </a:rPr>
              <a:t> SWO Nederland – beyond compliance</a:t>
            </a:r>
            <a:endParaRPr lang="en-US" sz="2400">
              <a:latin typeface="Open Sans"/>
              <a:ea typeface="Open Sans"/>
              <a:cs typeface="Open Sans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13A0D26-6439-F22A-CE26-EF408BAD5B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2000" y="791815"/>
            <a:ext cx="9504244" cy="216272"/>
          </a:xfrm>
        </p:spPr>
        <p:txBody>
          <a:bodyPr/>
          <a:lstStyle/>
          <a:p>
            <a:r>
              <a:rPr lang="nl-NL" sz="1400" i="1">
                <a:latin typeface="Open Sans" panose="020B0606030504020204" pitchFamily="34" charset="0"/>
                <a:ea typeface="Open Sans" panose="020B0606030504020204" pitchFamily="34" charset="0"/>
              </a:rPr>
              <a:t>Wij helpen nieuwe Nederlanders aan passende woonruimte en financieren een sociale omgeving</a:t>
            </a:r>
            <a:endParaRPr lang="nl-NL" sz="1400">
              <a:latin typeface="Open Sans" panose="020B0606030504020204" pitchFamily="34" charset="0"/>
              <a:ea typeface="Open Sans" panose="020B060603050402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7F2926-442F-4015-B6D8-4380B3E894A4}"/>
              </a:ext>
            </a:extLst>
          </p:cNvPr>
          <p:cNvCxnSpPr>
            <a:cxnSpLocks/>
          </p:cNvCxnSpPr>
          <p:nvPr/>
        </p:nvCxnSpPr>
        <p:spPr>
          <a:xfrm>
            <a:off x="1872244" y="1092528"/>
            <a:ext cx="0" cy="5102422"/>
          </a:xfrm>
          <a:prstGeom prst="line">
            <a:avLst/>
          </a:prstGeom>
          <a:noFill/>
          <a:ln w="22225" cap="rnd" cmpd="sng" algn="ctr">
            <a:solidFill>
              <a:srgbClr val="FFFFFF">
                <a:lumMod val="85000"/>
              </a:srgbClr>
            </a:solidFill>
            <a:prstDash val="sysDot"/>
            <a:round/>
          </a:ln>
          <a:effectLst/>
        </p:spPr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652C757-C7CC-441A-AE44-A2644990382A}"/>
              </a:ext>
            </a:extLst>
          </p:cNvPr>
          <p:cNvCxnSpPr>
            <a:cxnSpLocks/>
          </p:cNvCxnSpPr>
          <p:nvPr/>
        </p:nvCxnSpPr>
        <p:spPr>
          <a:xfrm>
            <a:off x="8640244" y="1080087"/>
            <a:ext cx="0" cy="5102422"/>
          </a:xfrm>
          <a:prstGeom prst="line">
            <a:avLst/>
          </a:prstGeom>
          <a:noFill/>
          <a:ln w="22225" cap="rnd" cmpd="sng" algn="ctr">
            <a:solidFill>
              <a:srgbClr val="FFFFFF">
                <a:lumMod val="85000"/>
              </a:srgbClr>
            </a:solidFill>
            <a:prstDash val="sysDot"/>
            <a:round/>
          </a:ln>
          <a:effectLst/>
        </p:spPr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4D161C5-5BF6-4DD1-AAC5-900594DE96E0}"/>
              </a:ext>
            </a:extLst>
          </p:cNvPr>
          <p:cNvCxnSpPr>
            <a:cxnSpLocks/>
          </p:cNvCxnSpPr>
          <p:nvPr/>
        </p:nvCxnSpPr>
        <p:spPr>
          <a:xfrm>
            <a:off x="432244" y="1224000"/>
            <a:ext cx="1440000" cy="0"/>
          </a:xfrm>
          <a:prstGeom prst="line">
            <a:avLst/>
          </a:prstGeom>
          <a:noFill/>
          <a:ln w="9525" cap="rnd" cmpd="sng" algn="ctr">
            <a:solidFill>
              <a:schemeClr val="bg2">
                <a:lumMod val="75000"/>
              </a:schemeClr>
            </a:solidFill>
            <a:prstDash val="solid"/>
            <a:round/>
            <a:headEnd type="oval"/>
            <a:tailEnd type="oval"/>
          </a:ln>
          <a:effectLst/>
        </p:spPr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C2B4D894-B27C-4381-97AB-211D9106D6F1}"/>
              </a:ext>
            </a:extLst>
          </p:cNvPr>
          <p:cNvSpPr txBox="1"/>
          <p:nvPr/>
        </p:nvSpPr>
        <p:spPr>
          <a:xfrm>
            <a:off x="576244" y="1152087"/>
            <a:ext cx="1152000" cy="144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 defTabSz="816400"/>
            <a:r>
              <a:rPr lang="nl-NL" sz="850" b="1" kern="0" spc="76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AKEHOLDER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2A489D5-AAD3-4AED-A403-5C01B10B7B8A}"/>
              </a:ext>
            </a:extLst>
          </p:cNvPr>
          <p:cNvSpPr txBox="1"/>
          <p:nvPr/>
        </p:nvSpPr>
        <p:spPr>
          <a:xfrm>
            <a:off x="4680244" y="1158185"/>
            <a:ext cx="1152000" cy="13606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900" b="1" spc="80">
                <a:solidFill>
                  <a:schemeClr val="accent2"/>
                </a:solidFill>
              </a:defRPr>
            </a:lvl1pPr>
          </a:lstStyle>
          <a:p>
            <a:pPr defTabSz="816400"/>
            <a:r>
              <a:rPr lang="nl-NL" sz="850" kern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CCESFACTOREN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329ADFC-B146-4277-AE39-80D604FEA2B7}"/>
              </a:ext>
            </a:extLst>
          </p:cNvPr>
          <p:cNvCxnSpPr>
            <a:cxnSpLocks/>
          </p:cNvCxnSpPr>
          <p:nvPr/>
        </p:nvCxnSpPr>
        <p:spPr>
          <a:xfrm>
            <a:off x="8640244" y="1226210"/>
            <a:ext cx="2448000" cy="0"/>
          </a:xfrm>
          <a:prstGeom prst="line">
            <a:avLst/>
          </a:prstGeom>
          <a:noFill/>
          <a:ln w="9525" cap="rnd" cmpd="sng" algn="ctr">
            <a:solidFill>
              <a:schemeClr val="bg2">
                <a:lumMod val="75000"/>
              </a:schemeClr>
            </a:solidFill>
            <a:prstDash val="solid"/>
            <a:round/>
            <a:headEnd type="oval"/>
            <a:tailEnd type="oval"/>
          </a:ln>
          <a:effectLst/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33DC4AEC-FE1B-4440-9E16-28F95360CB42}"/>
              </a:ext>
            </a:extLst>
          </p:cNvPr>
          <p:cNvSpPr txBox="1"/>
          <p:nvPr/>
        </p:nvSpPr>
        <p:spPr>
          <a:xfrm>
            <a:off x="9432244" y="1152087"/>
            <a:ext cx="576000" cy="144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900" b="1" spc="80">
                <a:solidFill>
                  <a:schemeClr val="accent2"/>
                </a:solidFill>
              </a:defRPr>
            </a:lvl1pPr>
          </a:lstStyle>
          <a:p>
            <a:pPr defTabSz="816400"/>
            <a:r>
              <a:rPr lang="nl-NL" sz="850" kern="0">
                <a:solidFill>
                  <a:schemeClr val="bg2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ELEN</a:t>
            </a:r>
          </a:p>
        </p:txBody>
      </p:sp>
      <p:sp>
        <p:nvSpPr>
          <p:cNvPr id="132" name="Text Placeholder 3">
            <a:extLst>
              <a:ext uri="{FF2B5EF4-FFF2-40B4-BE49-F238E27FC236}">
                <a16:creationId xmlns:a16="http://schemas.microsoft.com/office/drawing/2014/main" id="{087D5F62-4F61-4872-9D96-3B444FBBD276}"/>
              </a:ext>
            </a:extLst>
          </p:cNvPr>
          <p:cNvSpPr txBox="1">
            <a:spLocks/>
          </p:cNvSpPr>
          <p:nvPr/>
        </p:nvSpPr>
        <p:spPr>
          <a:xfrm>
            <a:off x="432244" y="792087"/>
            <a:ext cx="9296468" cy="270741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115199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85000"/>
              <a:buFontTx/>
              <a:buNone/>
              <a:defRPr sz="1323" i="0" kern="1200" spc="40" baseline="0">
                <a:solidFill>
                  <a:schemeClr val="bg2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Open Sans" panose="020B0606030504020204" pitchFamily="34" charset="0"/>
              </a:defRPr>
            </a:lvl1pPr>
            <a:lvl2pPr marL="176210" indent="0" algn="l" defTabSz="1151993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tx1">
                  <a:lumMod val="60000"/>
                  <a:lumOff val="40000"/>
                </a:schemeClr>
              </a:buClr>
              <a:buSzPct val="75000"/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1" indent="0" algn="l" defTabSz="1151993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tx1">
                  <a:lumMod val="60000"/>
                  <a:lumOff val="40000"/>
                </a:schemeClr>
              </a:buClr>
              <a:buSzPct val="75000"/>
              <a:buFontTx/>
              <a:buNone/>
              <a:tabLst>
                <a:tab pos="1198002" algn="l"/>
              </a:tabLst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2" indent="0" algn="l" defTabSz="1151993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tx1">
                  <a:lumMod val="60000"/>
                  <a:lumOff val="40000"/>
                </a:schemeClr>
              </a:buClr>
              <a:buSzPct val="75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55" indent="0" algn="l" defTabSz="1151993" rtl="0" eaLnBrk="1" latinLnBrk="0" hangingPunct="1">
              <a:lnSpc>
                <a:spcPct val="90000"/>
              </a:lnSpc>
              <a:spcBef>
                <a:spcPts val="629"/>
              </a:spcBef>
              <a:buClr>
                <a:schemeClr val="tx1">
                  <a:lumMod val="60000"/>
                  <a:lumOff val="40000"/>
                </a:schemeClr>
              </a:buClr>
              <a:buSzPct val="75000"/>
              <a:buFontTx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7978" indent="-287997" algn="l" defTabSz="1151993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43973" indent="-287997" algn="l" defTabSz="1151993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19969" indent="-287997" algn="l" defTabSz="1151993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5965" indent="-287997" algn="l" defTabSz="1151993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NL" sz="1100">
              <a:latin typeface="Open Sans" panose="020B0606030504020204" pitchFamily="34" charset="0"/>
              <a:ea typeface="Open Sans" panose="020B0606030504020204" pitchFamily="34" charset="0"/>
            </a:endParaRPr>
          </a:p>
        </p:txBody>
      </p:sp>
      <p:sp>
        <p:nvSpPr>
          <p:cNvPr id="97" name="Rechthoek: afgeronde hoeken 96">
            <a:extLst>
              <a:ext uri="{FF2B5EF4-FFF2-40B4-BE49-F238E27FC236}">
                <a16:creationId xmlns:a16="http://schemas.microsoft.com/office/drawing/2014/main" id="{41B3EC8F-CD32-4122-FF03-299455811DC0}"/>
              </a:ext>
            </a:extLst>
          </p:cNvPr>
          <p:cNvSpPr/>
          <p:nvPr/>
        </p:nvSpPr>
        <p:spPr>
          <a:xfrm>
            <a:off x="9216244" y="163991"/>
            <a:ext cx="894667" cy="534988"/>
          </a:xfrm>
          <a:prstGeom prst="roundRect">
            <a:avLst>
              <a:gd name="adj" fmla="val 123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07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8" name="Afbeelding 97">
            <a:extLst>
              <a:ext uri="{FF2B5EF4-FFF2-40B4-BE49-F238E27FC236}">
                <a16:creationId xmlns:a16="http://schemas.microsoft.com/office/drawing/2014/main" id="{D7FDEF57-F58D-B354-B4F6-B1316D831E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98557" y="294151"/>
            <a:ext cx="979311" cy="627912"/>
          </a:xfrm>
          <a:prstGeom prst="rect">
            <a:avLst/>
          </a:prstGeom>
        </p:spPr>
      </p:pic>
      <p:cxnSp>
        <p:nvCxnSpPr>
          <p:cNvPr id="266" name="Straight Arrow Connector 14">
            <a:extLst>
              <a:ext uri="{FF2B5EF4-FFF2-40B4-BE49-F238E27FC236}">
                <a16:creationId xmlns:a16="http://schemas.microsoft.com/office/drawing/2014/main" id="{F6E1BBBC-D7E0-4B17-22A8-829DA924DFD6}"/>
              </a:ext>
            </a:extLst>
          </p:cNvPr>
          <p:cNvCxnSpPr>
            <a:cxnSpLocks/>
          </p:cNvCxnSpPr>
          <p:nvPr/>
        </p:nvCxnSpPr>
        <p:spPr>
          <a:xfrm>
            <a:off x="7704244" y="3960087"/>
            <a:ext cx="0" cy="504000"/>
          </a:xfrm>
          <a:prstGeom prst="straightConnector1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sp>
        <p:nvSpPr>
          <p:cNvPr id="134" name="Rechthoek: afgeronde hoeken 133">
            <a:extLst>
              <a:ext uri="{FF2B5EF4-FFF2-40B4-BE49-F238E27FC236}">
                <a16:creationId xmlns:a16="http://schemas.microsoft.com/office/drawing/2014/main" id="{B8F1BB5E-8C11-C3C2-F5E7-6CD7347D4DA8}"/>
              </a:ext>
            </a:extLst>
          </p:cNvPr>
          <p:cNvSpPr/>
          <p:nvPr/>
        </p:nvSpPr>
        <p:spPr>
          <a:xfrm>
            <a:off x="8403213" y="178429"/>
            <a:ext cx="894667" cy="534988"/>
          </a:xfrm>
          <a:prstGeom prst="roundRect">
            <a:avLst>
              <a:gd name="adj" fmla="val 123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07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36" name="Afbeelding 135">
            <a:extLst>
              <a:ext uri="{FF2B5EF4-FFF2-40B4-BE49-F238E27FC236}">
                <a16:creationId xmlns:a16="http://schemas.microsoft.com/office/drawing/2014/main" id="{2DE9645E-A185-2600-C112-5D0D6EE67F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60244" y="276404"/>
            <a:ext cx="1050754" cy="679789"/>
          </a:xfrm>
          <a:prstGeom prst="rect">
            <a:avLst/>
          </a:prstGeom>
        </p:spPr>
      </p:pic>
      <p:cxnSp>
        <p:nvCxnSpPr>
          <p:cNvPr id="175" name="Straight Arrow Connector 174">
            <a:extLst>
              <a:ext uri="{FF2B5EF4-FFF2-40B4-BE49-F238E27FC236}">
                <a16:creationId xmlns:a16="http://schemas.microsoft.com/office/drawing/2014/main" id="{7D27AEC0-2BC4-DDA4-4DBB-73207094463E}"/>
              </a:ext>
            </a:extLst>
          </p:cNvPr>
          <p:cNvCxnSpPr>
            <a:cxnSpLocks/>
            <a:endCxn id="173" idx="1"/>
          </p:cNvCxnSpPr>
          <p:nvPr/>
        </p:nvCxnSpPr>
        <p:spPr>
          <a:xfrm>
            <a:off x="8496244" y="4392087"/>
            <a:ext cx="360000" cy="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30D67B2A-9CAC-567D-34CC-BD7D555DD8A0}"/>
              </a:ext>
            </a:extLst>
          </p:cNvPr>
          <p:cNvCxnSpPr>
            <a:cxnSpLocks/>
          </p:cNvCxnSpPr>
          <p:nvPr/>
        </p:nvCxnSpPr>
        <p:spPr>
          <a:xfrm>
            <a:off x="8496244" y="3672087"/>
            <a:ext cx="0" cy="1944000"/>
          </a:xfrm>
          <a:prstGeom prst="line">
            <a:avLst/>
          </a:prstGeom>
          <a:ln w="12700" cap="rnd">
            <a:solidFill>
              <a:schemeClr val="accent2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Arrow Connector 181">
            <a:extLst>
              <a:ext uri="{FF2B5EF4-FFF2-40B4-BE49-F238E27FC236}">
                <a16:creationId xmlns:a16="http://schemas.microsoft.com/office/drawing/2014/main" id="{7AAD110A-CC73-9C0C-9FF7-3DB49E1689C8}"/>
              </a:ext>
            </a:extLst>
          </p:cNvPr>
          <p:cNvCxnSpPr>
            <a:cxnSpLocks/>
            <a:endCxn id="425" idx="1"/>
          </p:cNvCxnSpPr>
          <p:nvPr/>
        </p:nvCxnSpPr>
        <p:spPr>
          <a:xfrm>
            <a:off x="8496244" y="5616087"/>
            <a:ext cx="360000" cy="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TextBox 15">
            <a:extLst>
              <a:ext uri="{FF2B5EF4-FFF2-40B4-BE49-F238E27FC236}">
                <a16:creationId xmlns:a16="http://schemas.microsoft.com/office/drawing/2014/main" id="{B33B2F6D-3A4D-1A9A-497F-81C4F5BDEAE8}"/>
              </a:ext>
            </a:extLst>
          </p:cNvPr>
          <p:cNvSpPr txBox="1"/>
          <p:nvPr/>
        </p:nvSpPr>
        <p:spPr>
          <a:xfrm>
            <a:off x="7776244" y="4176087"/>
            <a:ext cx="576000" cy="144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34017" rtlCol="0" anchor="ctr">
            <a:noAutofit/>
          </a:bodyPr>
          <a:lstStyle>
            <a:defPPr>
              <a:defRPr lang="en-US"/>
            </a:defPPr>
            <a:lvl1pPr marR="0" lvl="0" indent="0" algn="ctr" defTabSz="86401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1" u="none" strike="noStrike" kern="0" cap="none" spc="0" normalizeH="0" baseline="0">
                <a:ln>
                  <a:noFill/>
                </a:ln>
                <a:solidFill>
                  <a:srgbClr val="003282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algn="l"/>
            <a:r>
              <a:rPr lang="nl-NL" sz="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rsterkt /</a:t>
            </a:r>
          </a:p>
          <a:p>
            <a:pPr algn="l"/>
            <a:r>
              <a:rPr lang="nl-NL" sz="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rrijkt</a:t>
            </a:r>
          </a:p>
        </p:txBody>
      </p:sp>
      <p:cxnSp>
        <p:nvCxnSpPr>
          <p:cNvPr id="208" name="Straight Arrow Connector 207">
            <a:extLst>
              <a:ext uri="{FF2B5EF4-FFF2-40B4-BE49-F238E27FC236}">
                <a16:creationId xmlns:a16="http://schemas.microsoft.com/office/drawing/2014/main" id="{E5A68515-8628-1355-25ED-BFAB3E30F005}"/>
              </a:ext>
            </a:extLst>
          </p:cNvPr>
          <p:cNvCxnSpPr>
            <a:cxnSpLocks/>
            <a:stCxn id="71" idx="3"/>
            <a:endCxn id="103" idx="1"/>
          </p:cNvCxnSpPr>
          <p:nvPr/>
        </p:nvCxnSpPr>
        <p:spPr>
          <a:xfrm>
            <a:off x="1728244" y="1656087"/>
            <a:ext cx="2016000" cy="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Arrow Connector 210">
            <a:extLst>
              <a:ext uri="{FF2B5EF4-FFF2-40B4-BE49-F238E27FC236}">
                <a16:creationId xmlns:a16="http://schemas.microsoft.com/office/drawing/2014/main" id="{90419341-6B62-5649-8C8D-12603E969683}"/>
              </a:ext>
            </a:extLst>
          </p:cNvPr>
          <p:cNvCxnSpPr>
            <a:cxnSpLocks/>
            <a:stCxn id="103" idx="3"/>
            <a:endCxn id="104" idx="1"/>
          </p:cNvCxnSpPr>
          <p:nvPr/>
        </p:nvCxnSpPr>
        <p:spPr>
          <a:xfrm>
            <a:off x="5040244" y="1656087"/>
            <a:ext cx="288000" cy="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Arrow Connector 217">
            <a:extLst>
              <a:ext uri="{FF2B5EF4-FFF2-40B4-BE49-F238E27FC236}">
                <a16:creationId xmlns:a16="http://schemas.microsoft.com/office/drawing/2014/main" id="{76B057CB-B694-90E9-B047-EFF5C2B38C33}"/>
              </a:ext>
            </a:extLst>
          </p:cNvPr>
          <p:cNvCxnSpPr>
            <a:cxnSpLocks/>
            <a:stCxn id="215" idx="0"/>
            <a:endCxn id="103" idx="2"/>
          </p:cNvCxnSpPr>
          <p:nvPr/>
        </p:nvCxnSpPr>
        <p:spPr>
          <a:xfrm flipV="1">
            <a:off x="4392244" y="1944087"/>
            <a:ext cx="0" cy="64800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Arrow Connector 220">
            <a:extLst>
              <a:ext uri="{FF2B5EF4-FFF2-40B4-BE49-F238E27FC236}">
                <a16:creationId xmlns:a16="http://schemas.microsoft.com/office/drawing/2014/main" id="{6D20CA16-CC67-AEBA-E785-BD85DF2A531B}"/>
              </a:ext>
            </a:extLst>
          </p:cNvPr>
          <p:cNvCxnSpPr>
            <a:cxnSpLocks/>
            <a:endCxn id="111" idx="2"/>
          </p:cNvCxnSpPr>
          <p:nvPr/>
        </p:nvCxnSpPr>
        <p:spPr>
          <a:xfrm flipV="1">
            <a:off x="2808244" y="5040087"/>
            <a:ext cx="0" cy="21600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Straight Arrow Connector 223">
            <a:extLst>
              <a:ext uri="{FF2B5EF4-FFF2-40B4-BE49-F238E27FC236}">
                <a16:creationId xmlns:a16="http://schemas.microsoft.com/office/drawing/2014/main" id="{7B16516D-419A-52DC-686D-1E3D7EB1580E}"/>
              </a:ext>
            </a:extLst>
          </p:cNvPr>
          <p:cNvCxnSpPr>
            <a:cxnSpLocks/>
            <a:stCxn id="112" idx="3"/>
            <a:endCxn id="215" idx="1"/>
          </p:cNvCxnSpPr>
          <p:nvPr/>
        </p:nvCxnSpPr>
        <p:spPr>
          <a:xfrm>
            <a:off x="3456244" y="2952087"/>
            <a:ext cx="288000" cy="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Straight Arrow Connector 226">
            <a:extLst>
              <a:ext uri="{FF2B5EF4-FFF2-40B4-BE49-F238E27FC236}">
                <a16:creationId xmlns:a16="http://schemas.microsoft.com/office/drawing/2014/main" id="{F8676366-5CFB-AC30-35B8-4F1E6E1A37C5}"/>
              </a:ext>
            </a:extLst>
          </p:cNvPr>
          <p:cNvCxnSpPr>
            <a:cxnSpLocks/>
            <a:stCxn id="112" idx="0"/>
            <a:endCxn id="102" idx="2"/>
          </p:cNvCxnSpPr>
          <p:nvPr/>
        </p:nvCxnSpPr>
        <p:spPr>
          <a:xfrm flipH="1" flipV="1">
            <a:off x="2804147" y="2520087"/>
            <a:ext cx="4097" cy="14400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AF946836-EF64-343A-CB68-AF3ED0EC06F2}"/>
              </a:ext>
            </a:extLst>
          </p:cNvPr>
          <p:cNvGrpSpPr/>
          <p:nvPr/>
        </p:nvGrpSpPr>
        <p:grpSpPr>
          <a:xfrm>
            <a:off x="3448050" y="2304087"/>
            <a:ext cx="800194" cy="288000"/>
            <a:chOff x="3448050" y="2304087"/>
            <a:chExt cx="800194" cy="288000"/>
          </a:xfrm>
        </p:grpSpPr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E57F61E2-9383-7D79-A529-52C22BCC0B78}"/>
                </a:ext>
              </a:extLst>
            </p:cNvPr>
            <p:cNvCxnSpPr>
              <a:cxnSpLocks/>
            </p:cNvCxnSpPr>
            <p:nvPr/>
          </p:nvCxnSpPr>
          <p:spPr>
            <a:xfrm>
              <a:off x="3448050" y="2304087"/>
              <a:ext cx="800194" cy="0"/>
            </a:xfrm>
            <a:prstGeom prst="line">
              <a:avLst/>
            </a:prstGeom>
            <a:ln w="12700" cap="rnd">
              <a:solidFill>
                <a:schemeClr val="accent2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Arrow Connector 124">
              <a:extLst>
                <a:ext uri="{FF2B5EF4-FFF2-40B4-BE49-F238E27FC236}">
                  <a16:creationId xmlns:a16="http://schemas.microsoft.com/office/drawing/2014/main" id="{884AFE28-E286-C293-BD85-35D87D543311}"/>
                </a:ext>
              </a:extLst>
            </p:cNvPr>
            <p:cNvCxnSpPr>
              <a:cxnSpLocks/>
            </p:cNvCxnSpPr>
            <p:nvPr/>
          </p:nvCxnSpPr>
          <p:spPr>
            <a:xfrm>
              <a:off x="4248244" y="2304087"/>
              <a:ext cx="0" cy="288000"/>
            </a:xfrm>
            <a:prstGeom prst="straightConnector1">
              <a:avLst/>
            </a:prstGeom>
            <a:ln w="12700" cap="rnd">
              <a:solidFill>
                <a:schemeClr val="accent2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A6407927-DAC4-8C3C-144E-345B7812181C}"/>
              </a:ext>
            </a:extLst>
          </p:cNvPr>
          <p:cNvGrpSpPr/>
          <p:nvPr/>
        </p:nvGrpSpPr>
        <p:grpSpPr>
          <a:xfrm>
            <a:off x="3448050" y="1944087"/>
            <a:ext cx="800194" cy="216000"/>
            <a:chOff x="3448050" y="1944087"/>
            <a:chExt cx="800194" cy="216000"/>
          </a:xfrm>
        </p:grpSpPr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11A15272-B3F2-8A54-7B75-17A2AA593B77}"/>
                </a:ext>
              </a:extLst>
            </p:cNvPr>
            <p:cNvCxnSpPr>
              <a:cxnSpLocks/>
            </p:cNvCxnSpPr>
            <p:nvPr/>
          </p:nvCxnSpPr>
          <p:spPr>
            <a:xfrm>
              <a:off x="3448050" y="2160087"/>
              <a:ext cx="800194" cy="0"/>
            </a:xfrm>
            <a:prstGeom prst="line">
              <a:avLst/>
            </a:prstGeom>
            <a:ln w="12700" cap="rnd">
              <a:solidFill>
                <a:schemeClr val="accent2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Straight Arrow Connector 234">
              <a:extLst>
                <a:ext uri="{FF2B5EF4-FFF2-40B4-BE49-F238E27FC236}">
                  <a16:creationId xmlns:a16="http://schemas.microsoft.com/office/drawing/2014/main" id="{6F9ACB69-40CB-15B9-8757-98EEB72016E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48244" y="1944087"/>
              <a:ext cx="0" cy="216000"/>
            </a:xfrm>
            <a:prstGeom prst="straightConnector1">
              <a:avLst/>
            </a:prstGeom>
            <a:ln w="12700" cap="rnd">
              <a:solidFill>
                <a:schemeClr val="accent2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3" name="TextBox 15">
            <a:extLst>
              <a:ext uri="{FF2B5EF4-FFF2-40B4-BE49-F238E27FC236}">
                <a16:creationId xmlns:a16="http://schemas.microsoft.com/office/drawing/2014/main" id="{7A882601-7CD5-9D2D-B426-0B8AD7220BBE}"/>
              </a:ext>
            </a:extLst>
          </p:cNvPr>
          <p:cNvSpPr txBox="1"/>
          <p:nvPr/>
        </p:nvSpPr>
        <p:spPr>
          <a:xfrm>
            <a:off x="3456244" y="1944087"/>
            <a:ext cx="792000" cy="216000"/>
          </a:xfrm>
          <a:prstGeom prst="rect">
            <a:avLst/>
          </a:prstGeom>
          <a:noFill/>
        </p:spPr>
        <p:txBody>
          <a:bodyPr wrap="square" lIns="0" tIns="0" rIns="0" bIns="34017" rtlCol="0" anchor="b">
            <a:noAutofit/>
          </a:bodyPr>
          <a:lstStyle>
            <a:defPPr>
              <a:defRPr lang="en-US"/>
            </a:defPPr>
            <a:lvl1pPr marR="0" lvl="0" indent="0" algn="ctr" defTabSz="86401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1" u="none" strike="noStrike" kern="0" cap="none" spc="0" normalizeH="0" baseline="0">
                <a:ln>
                  <a:noFill/>
                </a:ln>
                <a:solidFill>
                  <a:srgbClr val="003282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r>
              <a:rPr lang="nl-NL" sz="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rsterken</a:t>
            </a:r>
          </a:p>
        </p:txBody>
      </p:sp>
      <p:cxnSp>
        <p:nvCxnSpPr>
          <p:cNvPr id="252" name="Straight Arrow Connector 251">
            <a:extLst>
              <a:ext uri="{FF2B5EF4-FFF2-40B4-BE49-F238E27FC236}">
                <a16:creationId xmlns:a16="http://schemas.microsoft.com/office/drawing/2014/main" id="{F38FE652-1312-95DF-C5FC-50BE5BCB0F4D}"/>
              </a:ext>
            </a:extLst>
          </p:cNvPr>
          <p:cNvCxnSpPr>
            <a:cxnSpLocks/>
            <a:stCxn id="69" idx="3"/>
          </p:cNvCxnSpPr>
          <p:nvPr/>
        </p:nvCxnSpPr>
        <p:spPr>
          <a:xfrm>
            <a:off x="1728244" y="3096087"/>
            <a:ext cx="432000" cy="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3" name="Straight Arrow Connector 252">
            <a:extLst>
              <a:ext uri="{FF2B5EF4-FFF2-40B4-BE49-F238E27FC236}">
                <a16:creationId xmlns:a16="http://schemas.microsoft.com/office/drawing/2014/main" id="{F074A702-B17A-37E6-9EFD-C7644BA7D24E}"/>
              </a:ext>
            </a:extLst>
          </p:cNvPr>
          <p:cNvCxnSpPr>
            <a:cxnSpLocks/>
            <a:stCxn id="113" idx="0"/>
            <a:endCxn id="112" idx="2"/>
          </p:cNvCxnSpPr>
          <p:nvPr/>
        </p:nvCxnSpPr>
        <p:spPr>
          <a:xfrm flipV="1">
            <a:off x="2808244" y="3240087"/>
            <a:ext cx="0" cy="14400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Arrow Connector 259">
            <a:extLst>
              <a:ext uri="{FF2B5EF4-FFF2-40B4-BE49-F238E27FC236}">
                <a16:creationId xmlns:a16="http://schemas.microsoft.com/office/drawing/2014/main" id="{18F2782A-5FEB-AC66-3580-7B7899E42947}"/>
              </a:ext>
            </a:extLst>
          </p:cNvPr>
          <p:cNvCxnSpPr>
            <a:cxnSpLocks/>
          </p:cNvCxnSpPr>
          <p:nvPr/>
        </p:nvCxnSpPr>
        <p:spPr>
          <a:xfrm>
            <a:off x="3456244" y="3744087"/>
            <a:ext cx="1872000" cy="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5C4AA599-FAC3-64A6-FDC4-03FF65E8A4A8}"/>
              </a:ext>
            </a:extLst>
          </p:cNvPr>
          <p:cNvCxnSpPr>
            <a:cxnSpLocks/>
          </p:cNvCxnSpPr>
          <p:nvPr/>
        </p:nvCxnSpPr>
        <p:spPr>
          <a:xfrm>
            <a:off x="3456244" y="3600087"/>
            <a:ext cx="720000" cy="0"/>
          </a:xfrm>
          <a:prstGeom prst="line">
            <a:avLst/>
          </a:prstGeom>
          <a:ln w="12700" cap="rnd">
            <a:solidFill>
              <a:schemeClr val="accent2"/>
            </a:solidFill>
            <a:round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D2F921B5-48EB-827B-65E3-D14167BCDC46}"/>
              </a:ext>
            </a:extLst>
          </p:cNvPr>
          <p:cNvCxnSpPr>
            <a:cxnSpLocks/>
          </p:cNvCxnSpPr>
          <p:nvPr/>
        </p:nvCxnSpPr>
        <p:spPr>
          <a:xfrm flipV="1">
            <a:off x="4176244" y="3312087"/>
            <a:ext cx="0" cy="288000"/>
          </a:xfrm>
          <a:prstGeom prst="line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Arrow Connector 271">
            <a:extLst>
              <a:ext uri="{FF2B5EF4-FFF2-40B4-BE49-F238E27FC236}">
                <a16:creationId xmlns:a16="http://schemas.microsoft.com/office/drawing/2014/main" id="{0996B79E-368B-636C-AEFA-FBBC9C853328}"/>
              </a:ext>
            </a:extLst>
          </p:cNvPr>
          <p:cNvCxnSpPr>
            <a:cxnSpLocks/>
            <a:stCxn id="70" idx="3"/>
            <a:endCxn id="110" idx="1"/>
          </p:cNvCxnSpPr>
          <p:nvPr/>
        </p:nvCxnSpPr>
        <p:spPr>
          <a:xfrm>
            <a:off x="1728244" y="5760087"/>
            <a:ext cx="432000" cy="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1E6E32C0-4D91-2273-FEE4-4F9C25589EFB}"/>
              </a:ext>
            </a:extLst>
          </p:cNvPr>
          <p:cNvCxnSpPr>
            <a:cxnSpLocks/>
          </p:cNvCxnSpPr>
          <p:nvPr/>
        </p:nvCxnSpPr>
        <p:spPr>
          <a:xfrm flipH="1">
            <a:off x="360244" y="2808087"/>
            <a:ext cx="1800000" cy="0"/>
          </a:xfrm>
          <a:prstGeom prst="line">
            <a:avLst/>
          </a:prstGeom>
          <a:ln w="12700" cap="rnd">
            <a:solidFill>
              <a:schemeClr val="accent2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B3A4F7E1-B4FB-F86A-E798-72F03A81D0A0}"/>
              </a:ext>
            </a:extLst>
          </p:cNvPr>
          <p:cNvCxnSpPr>
            <a:cxnSpLocks/>
          </p:cNvCxnSpPr>
          <p:nvPr/>
        </p:nvCxnSpPr>
        <p:spPr>
          <a:xfrm>
            <a:off x="360244" y="2808087"/>
            <a:ext cx="0" cy="3528000"/>
          </a:xfrm>
          <a:prstGeom prst="line">
            <a:avLst/>
          </a:prstGeom>
          <a:ln w="12700" cap="rnd">
            <a:solidFill>
              <a:schemeClr val="accent2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Arrow Connector 279">
            <a:extLst>
              <a:ext uri="{FF2B5EF4-FFF2-40B4-BE49-F238E27FC236}">
                <a16:creationId xmlns:a16="http://schemas.microsoft.com/office/drawing/2014/main" id="{5120ADA6-DDFB-9E0C-494E-90E37264C587}"/>
              </a:ext>
            </a:extLst>
          </p:cNvPr>
          <p:cNvCxnSpPr>
            <a:cxnSpLocks/>
            <a:endCxn id="110" idx="2"/>
          </p:cNvCxnSpPr>
          <p:nvPr/>
        </p:nvCxnSpPr>
        <p:spPr>
          <a:xfrm flipV="1">
            <a:off x="2808244" y="6120087"/>
            <a:ext cx="0" cy="21600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Straight Arrow Connector 282">
            <a:extLst>
              <a:ext uri="{FF2B5EF4-FFF2-40B4-BE49-F238E27FC236}">
                <a16:creationId xmlns:a16="http://schemas.microsoft.com/office/drawing/2014/main" id="{EA0F6DAD-0052-1E04-4B27-571365D0F83D}"/>
              </a:ext>
            </a:extLst>
          </p:cNvPr>
          <p:cNvCxnSpPr>
            <a:cxnSpLocks/>
            <a:stCxn id="110" idx="3"/>
            <a:endCxn id="109" idx="1"/>
          </p:cNvCxnSpPr>
          <p:nvPr/>
        </p:nvCxnSpPr>
        <p:spPr>
          <a:xfrm>
            <a:off x="3456244" y="5760087"/>
            <a:ext cx="1872000" cy="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5" name="Straight Arrow Connector 294">
            <a:extLst>
              <a:ext uri="{FF2B5EF4-FFF2-40B4-BE49-F238E27FC236}">
                <a16:creationId xmlns:a16="http://schemas.microsoft.com/office/drawing/2014/main" id="{550C428D-95F0-2D56-BBF3-9A6044A6A839}"/>
              </a:ext>
            </a:extLst>
          </p:cNvPr>
          <p:cNvCxnSpPr>
            <a:cxnSpLocks/>
          </p:cNvCxnSpPr>
          <p:nvPr/>
        </p:nvCxnSpPr>
        <p:spPr>
          <a:xfrm flipV="1">
            <a:off x="5904244" y="6120087"/>
            <a:ext cx="0" cy="21600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" name="Straight Connector 298">
            <a:extLst>
              <a:ext uri="{FF2B5EF4-FFF2-40B4-BE49-F238E27FC236}">
                <a16:creationId xmlns:a16="http://schemas.microsoft.com/office/drawing/2014/main" id="{DBFDF0EC-2308-7D29-CAF7-419022939B55}"/>
              </a:ext>
            </a:extLst>
          </p:cNvPr>
          <p:cNvCxnSpPr>
            <a:cxnSpLocks/>
          </p:cNvCxnSpPr>
          <p:nvPr/>
        </p:nvCxnSpPr>
        <p:spPr>
          <a:xfrm flipH="1">
            <a:off x="360244" y="6336087"/>
            <a:ext cx="2448000" cy="0"/>
          </a:xfrm>
          <a:prstGeom prst="line">
            <a:avLst/>
          </a:prstGeom>
          <a:ln w="12700" cap="rnd">
            <a:solidFill>
              <a:schemeClr val="accent2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6" name="Straight Connector 305">
            <a:extLst>
              <a:ext uri="{FF2B5EF4-FFF2-40B4-BE49-F238E27FC236}">
                <a16:creationId xmlns:a16="http://schemas.microsoft.com/office/drawing/2014/main" id="{BF84F5F7-493D-9756-A073-F87FE3C6CD56}"/>
              </a:ext>
            </a:extLst>
          </p:cNvPr>
          <p:cNvCxnSpPr>
            <a:cxnSpLocks/>
          </p:cNvCxnSpPr>
          <p:nvPr/>
        </p:nvCxnSpPr>
        <p:spPr>
          <a:xfrm flipH="1">
            <a:off x="2808244" y="6336087"/>
            <a:ext cx="3096000" cy="0"/>
          </a:xfrm>
          <a:prstGeom prst="line">
            <a:avLst/>
          </a:prstGeom>
          <a:ln w="12700" cap="rnd">
            <a:solidFill>
              <a:schemeClr val="accent2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TextBox 15">
            <a:extLst>
              <a:ext uri="{FF2B5EF4-FFF2-40B4-BE49-F238E27FC236}">
                <a16:creationId xmlns:a16="http://schemas.microsoft.com/office/drawing/2014/main" id="{85E05125-8950-39A8-1431-50D7B2C5CF55}"/>
              </a:ext>
            </a:extLst>
          </p:cNvPr>
          <p:cNvSpPr txBox="1"/>
          <p:nvPr/>
        </p:nvSpPr>
        <p:spPr>
          <a:xfrm>
            <a:off x="4536244" y="3528087"/>
            <a:ext cx="792000" cy="216000"/>
          </a:xfrm>
          <a:prstGeom prst="rect">
            <a:avLst/>
          </a:prstGeom>
          <a:noFill/>
        </p:spPr>
        <p:txBody>
          <a:bodyPr wrap="square" lIns="0" tIns="0" rIns="0" bIns="34017" rtlCol="0" anchor="b">
            <a:noAutofit/>
          </a:bodyPr>
          <a:lstStyle>
            <a:defPPr>
              <a:defRPr lang="en-US"/>
            </a:defPPr>
            <a:lvl1pPr marR="0" lvl="0" indent="0" algn="ctr" defTabSz="86401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1" u="none" strike="noStrike" kern="0" cap="none" spc="0" normalizeH="0" baseline="0">
                <a:ln>
                  <a:noFill/>
                </a:ln>
                <a:solidFill>
                  <a:srgbClr val="003282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r>
              <a:rPr lang="nl-NL" sz="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rm</a:t>
            </a:r>
          </a:p>
        </p:txBody>
      </p: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78DFB71F-8468-A642-FED3-9EBD62C1169A}"/>
              </a:ext>
            </a:extLst>
          </p:cNvPr>
          <p:cNvCxnSpPr>
            <a:cxnSpLocks/>
          </p:cNvCxnSpPr>
          <p:nvPr/>
        </p:nvCxnSpPr>
        <p:spPr>
          <a:xfrm>
            <a:off x="2016244" y="3096087"/>
            <a:ext cx="0" cy="576000"/>
          </a:xfrm>
          <a:prstGeom prst="line">
            <a:avLst/>
          </a:prstGeom>
          <a:ln w="12700" cap="rnd">
            <a:solidFill>
              <a:schemeClr val="accent2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6" name="Straight Arrow Connector 325">
            <a:extLst>
              <a:ext uri="{FF2B5EF4-FFF2-40B4-BE49-F238E27FC236}">
                <a16:creationId xmlns:a16="http://schemas.microsoft.com/office/drawing/2014/main" id="{7CF0112A-F96E-BAD4-1590-203957450919}"/>
              </a:ext>
            </a:extLst>
          </p:cNvPr>
          <p:cNvCxnSpPr>
            <a:cxnSpLocks/>
            <a:endCxn id="113" idx="1"/>
          </p:cNvCxnSpPr>
          <p:nvPr/>
        </p:nvCxnSpPr>
        <p:spPr>
          <a:xfrm>
            <a:off x="2016244" y="3672087"/>
            <a:ext cx="144000" cy="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Straight Arrow Connector 329">
            <a:extLst>
              <a:ext uri="{FF2B5EF4-FFF2-40B4-BE49-F238E27FC236}">
                <a16:creationId xmlns:a16="http://schemas.microsoft.com/office/drawing/2014/main" id="{EE59DB46-C1B2-147B-300A-BB618D70B2D4}"/>
              </a:ext>
            </a:extLst>
          </p:cNvPr>
          <p:cNvCxnSpPr>
            <a:cxnSpLocks/>
          </p:cNvCxnSpPr>
          <p:nvPr/>
        </p:nvCxnSpPr>
        <p:spPr>
          <a:xfrm flipV="1">
            <a:off x="6048244" y="5040087"/>
            <a:ext cx="0" cy="36000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4" name="Straight Connector 333">
            <a:extLst>
              <a:ext uri="{FF2B5EF4-FFF2-40B4-BE49-F238E27FC236}">
                <a16:creationId xmlns:a16="http://schemas.microsoft.com/office/drawing/2014/main" id="{25701B98-D912-9D5C-7400-45D12828ADE5}"/>
              </a:ext>
            </a:extLst>
          </p:cNvPr>
          <p:cNvCxnSpPr>
            <a:cxnSpLocks/>
            <a:endCxn id="109" idx="3"/>
          </p:cNvCxnSpPr>
          <p:nvPr/>
        </p:nvCxnSpPr>
        <p:spPr>
          <a:xfrm flipH="1">
            <a:off x="6624244" y="5760087"/>
            <a:ext cx="1008000" cy="0"/>
          </a:xfrm>
          <a:prstGeom prst="line">
            <a:avLst/>
          </a:prstGeom>
          <a:ln w="12700" cap="rnd">
            <a:solidFill>
              <a:schemeClr val="accent2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1" name="Straight Arrow Connector 340">
            <a:extLst>
              <a:ext uri="{FF2B5EF4-FFF2-40B4-BE49-F238E27FC236}">
                <a16:creationId xmlns:a16="http://schemas.microsoft.com/office/drawing/2014/main" id="{34EA6505-EC81-272C-51FB-3FF50488E1B6}"/>
              </a:ext>
            </a:extLst>
          </p:cNvPr>
          <p:cNvCxnSpPr>
            <a:cxnSpLocks/>
            <a:endCxn id="116" idx="2"/>
          </p:cNvCxnSpPr>
          <p:nvPr/>
        </p:nvCxnSpPr>
        <p:spPr>
          <a:xfrm flipV="1">
            <a:off x="7632244" y="5040087"/>
            <a:ext cx="0" cy="72000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4" name="TextBox 15">
            <a:extLst>
              <a:ext uri="{FF2B5EF4-FFF2-40B4-BE49-F238E27FC236}">
                <a16:creationId xmlns:a16="http://schemas.microsoft.com/office/drawing/2014/main" id="{AF324DD2-3561-004B-B113-74ACF51374A9}"/>
              </a:ext>
            </a:extLst>
          </p:cNvPr>
          <p:cNvSpPr txBox="1"/>
          <p:nvPr/>
        </p:nvSpPr>
        <p:spPr>
          <a:xfrm>
            <a:off x="6120244" y="5184087"/>
            <a:ext cx="1008000" cy="144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34017" rtlCol="0" anchor="ctr">
            <a:noAutofit/>
          </a:bodyPr>
          <a:lstStyle>
            <a:defPPr>
              <a:defRPr lang="en-US"/>
            </a:defPPr>
            <a:lvl1pPr marR="0" lvl="0" indent="0" algn="ctr" defTabSz="864017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1" u="none" strike="noStrike" kern="0" cap="none" spc="0" normalizeH="0" baseline="0">
                <a:ln>
                  <a:noFill/>
                </a:ln>
                <a:solidFill>
                  <a:srgbClr val="003282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</a:lstStyle>
          <a:p>
            <a:pPr algn="l"/>
            <a:r>
              <a:rPr lang="nl-NL" sz="800" err="1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ctuals</a:t>
            </a:r>
            <a:endParaRPr lang="nl-NL" sz="8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45" name="Straight Arrow Connector 344">
            <a:extLst>
              <a:ext uri="{FF2B5EF4-FFF2-40B4-BE49-F238E27FC236}">
                <a16:creationId xmlns:a16="http://schemas.microsoft.com/office/drawing/2014/main" id="{AFDD64BE-626C-6DC8-5371-C2531F033C97}"/>
              </a:ext>
            </a:extLst>
          </p:cNvPr>
          <p:cNvCxnSpPr>
            <a:cxnSpLocks/>
            <a:stCxn id="215" idx="3"/>
          </p:cNvCxnSpPr>
          <p:nvPr/>
        </p:nvCxnSpPr>
        <p:spPr>
          <a:xfrm>
            <a:off x="5040244" y="2952087"/>
            <a:ext cx="1872000" cy="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9" name="Straight Arrow Connector 358">
            <a:extLst>
              <a:ext uri="{FF2B5EF4-FFF2-40B4-BE49-F238E27FC236}">
                <a16:creationId xmlns:a16="http://schemas.microsoft.com/office/drawing/2014/main" id="{E5FFA8F9-3A98-6D33-D7D2-79DC81100B63}"/>
              </a:ext>
            </a:extLst>
          </p:cNvPr>
          <p:cNvCxnSpPr>
            <a:cxnSpLocks/>
            <a:stCxn id="108" idx="3"/>
            <a:endCxn id="116" idx="1"/>
          </p:cNvCxnSpPr>
          <p:nvPr/>
        </p:nvCxnSpPr>
        <p:spPr>
          <a:xfrm>
            <a:off x="6624244" y="4752087"/>
            <a:ext cx="360000" cy="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0" name="Straight Connector 359">
            <a:extLst>
              <a:ext uri="{FF2B5EF4-FFF2-40B4-BE49-F238E27FC236}">
                <a16:creationId xmlns:a16="http://schemas.microsoft.com/office/drawing/2014/main" id="{1AAF6424-C4BF-92C2-0E12-78D854B1B945}"/>
              </a:ext>
            </a:extLst>
          </p:cNvPr>
          <p:cNvCxnSpPr>
            <a:cxnSpLocks/>
          </p:cNvCxnSpPr>
          <p:nvPr/>
        </p:nvCxnSpPr>
        <p:spPr>
          <a:xfrm flipH="1">
            <a:off x="2808244" y="5256087"/>
            <a:ext cx="3096000" cy="0"/>
          </a:xfrm>
          <a:prstGeom prst="line">
            <a:avLst/>
          </a:prstGeom>
          <a:ln w="12700" cap="rnd">
            <a:solidFill>
              <a:schemeClr val="accent2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Straight Arrow Connector 360">
            <a:extLst>
              <a:ext uri="{FF2B5EF4-FFF2-40B4-BE49-F238E27FC236}">
                <a16:creationId xmlns:a16="http://schemas.microsoft.com/office/drawing/2014/main" id="{C0AC794D-526C-DEC3-78F4-909291844AEB}"/>
              </a:ext>
            </a:extLst>
          </p:cNvPr>
          <p:cNvCxnSpPr>
            <a:cxnSpLocks/>
          </p:cNvCxnSpPr>
          <p:nvPr/>
        </p:nvCxnSpPr>
        <p:spPr>
          <a:xfrm flipV="1">
            <a:off x="5904244" y="5040087"/>
            <a:ext cx="0" cy="21600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Straight Connector 385">
            <a:extLst>
              <a:ext uri="{FF2B5EF4-FFF2-40B4-BE49-F238E27FC236}">
                <a16:creationId xmlns:a16="http://schemas.microsoft.com/office/drawing/2014/main" id="{18FE5254-7154-1B76-61A0-6A90E70A0501}"/>
              </a:ext>
            </a:extLst>
          </p:cNvPr>
          <p:cNvCxnSpPr>
            <a:cxnSpLocks/>
          </p:cNvCxnSpPr>
          <p:nvPr/>
        </p:nvCxnSpPr>
        <p:spPr>
          <a:xfrm flipV="1">
            <a:off x="4320244" y="3312087"/>
            <a:ext cx="0" cy="360000"/>
          </a:xfrm>
          <a:prstGeom prst="line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Straight Arrow Connector 386">
            <a:extLst>
              <a:ext uri="{FF2B5EF4-FFF2-40B4-BE49-F238E27FC236}">
                <a16:creationId xmlns:a16="http://schemas.microsoft.com/office/drawing/2014/main" id="{48BB3072-C9C4-A086-4B2F-1F80716B4F2D}"/>
              </a:ext>
            </a:extLst>
          </p:cNvPr>
          <p:cNvCxnSpPr>
            <a:cxnSpLocks/>
            <a:endCxn id="174" idx="3"/>
          </p:cNvCxnSpPr>
          <p:nvPr/>
        </p:nvCxnSpPr>
        <p:spPr>
          <a:xfrm flipH="1">
            <a:off x="10872244" y="4968087"/>
            <a:ext cx="360000" cy="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2" name="Straight Connector 391">
            <a:extLst>
              <a:ext uri="{FF2B5EF4-FFF2-40B4-BE49-F238E27FC236}">
                <a16:creationId xmlns:a16="http://schemas.microsoft.com/office/drawing/2014/main" id="{4498BC2F-FD16-4019-96FE-263276EF3DFE}"/>
              </a:ext>
            </a:extLst>
          </p:cNvPr>
          <p:cNvCxnSpPr>
            <a:cxnSpLocks/>
          </p:cNvCxnSpPr>
          <p:nvPr/>
        </p:nvCxnSpPr>
        <p:spPr>
          <a:xfrm>
            <a:off x="11232244" y="1656087"/>
            <a:ext cx="0" cy="4680000"/>
          </a:xfrm>
          <a:prstGeom prst="line">
            <a:avLst/>
          </a:prstGeom>
          <a:ln w="12700" cap="rnd">
            <a:solidFill>
              <a:schemeClr val="accent2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Straight Connector 394">
            <a:extLst>
              <a:ext uri="{FF2B5EF4-FFF2-40B4-BE49-F238E27FC236}">
                <a16:creationId xmlns:a16="http://schemas.microsoft.com/office/drawing/2014/main" id="{D22AD8CB-AC91-685A-ECDA-37A34B411811}"/>
              </a:ext>
            </a:extLst>
          </p:cNvPr>
          <p:cNvCxnSpPr>
            <a:cxnSpLocks/>
          </p:cNvCxnSpPr>
          <p:nvPr/>
        </p:nvCxnSpPr>
        <p:spPr>
          <a:xfrm flipH="1">
            <a:off x="6048244" y="6336087"/>
            <a:ext cx="5184000" cy="0"/>
          </a:xfrm>
          <a:prstGeom prst="line">
            <a:avLst/>
          </a:prstGeom>
          <a:ln w="12700" cap="rnd">
            <a:solidFill>
              <a:schemeClr val="accent2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Straight Arrow Connector 399">
            <a:extLst>
              <a:ext uri="{FF2B5EF4-FFF2-40B4-BE49-F238E27FC236}">
                <a16:creationId xmlns:a16="http://schemas.microsoft.com/office/drawing/2014/main" id="{1D9A23E3-5098-0F22-0AA9-E376E3EE5035}"/>
              </a:ext>
            </a:extLst>
          </p:cNvPr>
          <p:cNvCxnSpPr>
            <a:cxnSpLocks/>
          </p:cNvCxnSpPr>
          <p:nvPr/>
        </p:nvCxnSpPr>
        <p:spPr>
          <a:xfrm flipV="1">
            <a:off x="6048244" y="6120087"/>
            <a:ext cx="0" cy="21600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8" name="Straight Connector 407">
            <a:extLst>
              <a:ext uri="{FF2B5EF4-FFF2-40B4-BE49-F238E27FC236}">
                <a16:creationId xmlns:a16="http://schemas.microsoft.com/office/drawing/2014/main" id="{4D6EAC98-2311-EDB1-E1FC-114315F789F5}"/>
              </a:ext>
            </a:extLst>
          </p:cNvPr>
          <p:cNvCxnSpPr>
            <a:cxnSpLocks/>
          </p:cNvCxnSpPr>
          <p:nvPr/>
        </p:nvCxnSpPr>
        <p:spPr>
          <a:xfrm>
            <a:off x="4320244" y="3816087"/>
            <a:ext cx="0" cy="936000"/>
          </a:xfrm>
          <a:prstGeom prst="line">
            <a:avLst/>
          </a:prstGeom>
          <a:ln w="12700" cap="rnd">
            <a:solidFill>
              <a:schemeClr val="accent2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7" name="Straight Connector 416">
            <a:extLst>
              <a:ext uri="{FF2B5EF4-FFF2-40B4-BE49-F238E27FC236}">
                <a16:creationId xmlns:a16="http://schemas.microsoft.com/office/drawing/2014/main" id="{6B81CB43-AB77-9AD9-F5E5-E22B49DF5C75}"/>
              </a:ext>
            </a:extLst>
          </p:cNvPr>
          <p:cNvCxnSpPr>
            <a:cxnSpLocks/>
            <a:stCxn id="111" idx="3"/>
          </p:cNvCxnSpPr>
          <p:nvPr/>
        </p:nvCxnSpPr>
        <p:spPr>
          <a:xfrm>
            <a:off x="3456244" y="4752087"/>
            <a:ext cx="864000" cy="0"/>
          </a:xfrm>
          <a:prstGeom prst="line">
            <a:avLst/>
          </a:prstGeom>
          <a:ln w="12700" cap="rnd">
            <a:solidFill>
              <a:schemeClr val="accent2"/>
            </a:solidFill>
            <a:round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8" name="Straight Arrow Connector 417">
            <a:extLst>
              <a:ext uri="{FF2B5EF4-FFF2-40B4-BE49-F238E27FC236}">
                <a16:creationId xmlns:a16="http://schemas.microsoft.com/office/drawing/2014/main" id="{CA2242AC-C42F-2552-0859-67C78935E5D7}"/>
              </a:ext>
            </a:extLst>
          </p:cNvPr>
          <p:cNvCxnSpPr>
            <a:cxnSpLocks/>
          </p:cNvCxnSpPr>
          <p:nvPr/>
        </p:nvCxnSpPr>
        <p:spPr>
          <a:xfrm flipH="1">
            <a:off x="6624244" y="1656087"/>
            <a:ext cx="4608000" cy="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1" name="Straight Connector 420">
            <a:extLst>
              <a:ext uri="{FF2B5EF4-FFF2-40B4-BE49-F238E27FC236}">
                <a16:creationId xmlns:a16="http://schemas.microsoft.com/office/drawing/2014/main" id="{9068BA8E-7B67-B930-8B3C-BA5FD500A808}"/>
              </a:ext>
            </a:extLst>
          </p:cNvPr>
          <p:cNvCxnSpPr>
            <a:cxnSpLocks/>
          </p:cNvCxnSpPr>
          <p:nvPr/>
        </p:nvCxnSpPr>
        <p:spPr>
          <a:xfrm flipV="1">
            <a:off x="4464244" y="3312087"/>
            <a:ext cx="0" cy="360000"/>
          </a:xfrm>
          <a:prstGeom prst="line">
            <a:avLst/>
          </a:prstGeom>
          <a:ln w="12700" cap="rnd">
            <a:solidFill>
              <a:schemeClr val="accent2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3" name="Straight Connector 422">
            <a:extLst>
              <a:ext uri="{FF2B5EF4-FFF2-40B4-BE49-F238E27FC236}">
                <a16:creationId xmlns:a16="http://schemas.microsoft.com/office/drawing/2014/main" id="{EAF6B746-C03E-7D41-AF95-AAEE39E96942}"/>
              </a:ext>
            </a:extLst>
          </p:cNvPr>
          <p:cNvCxnSpPr>
            <a:cxnSpLocks/>
          </p:cNvCxnSpPr>
          <p:nvPr/>
        </p:nvCxnSpPr>
        <p:spPr>
          <a:xfrm>
            <a:off x="4464244" y="3816087"/>
            <a:ext cx="0" cy="432000"/>
          </a:xfrm>
          <a:prstGeom prst="line">
            <a:avLst/>
          </a:prstGeom>
          <a:ln w="12700" cap="rnd">
            <a:solidFill>
              <a:schemeClr val="accent2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4" name="Straight Connector 423">
            <a:extLst>
              <a:ext uri="{FF2B5EF4-FFF2-40B4-BE49-F238E27FC236}">
                <a16:creationId xmlns:a16="http://schemas.microsoft.com/office/drawing/2014/main" id="{427C8E85-ADFD-B36C-3C99-A5053DF7FB36}"/>
              </a:ext>
            </a:extLst>
          </p:cNvPr>
          <p:cNvCxnSpPr>
            <a:cxnSpLocks/>
          </p:cNvCxnSpPr>
          <p:nvPr/>
        </p:nvCxnSpPr>
        <p:spPr>
          <a:xfrm flipH="1">
            <a:off x="4464244" y="4248087"/>
            <a:ext cx="3096000" cy="0"/>
          </a:xfrm>
          <a:prstGeom prst="line">
            <a:avLst/>
          </a:prstGeom>
          <a:ln w="12700" cap="rnd">
            <a:solidFill>
              <a:schemeClr val="accent2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9" name="Straight Arrow Connector 428">
            <a:extLst>
              <a:ext uri="{FF2B5EF4-FFF2-40B4-BE49-F238E27FC236}">
                <a16:creationId xmlns:a16="http://schemas.microsoft.com/office/drawing/2014/main" id="{A487EBCB-C7A8-607F-15F5-DC6D9EE2B4C9}"/>
              </a:ext>
            </a:extLst>
          </p:cNvPr>
          <p:cNvCxnSpPr>
            <a:cxnSpLocks/>
          </p:cNvCxnSpPr>
          <p:nvPr/>
        </p:nvCxnSpPr>
        <p:spPr>
          <a:xfrm>
            <a:off x="7560244" y="4248087"/>
            <a:ext cx="0" cy="21600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tangle: Rounded Corners 65">
            <a:extLst>
              <a:ext uri="{FF2B5EF4-FFF2-40B4-BE49-F238E27FC236}">
                <a16:creationId xmlns:a16="http://schemas.microsoft.com/office/drawing/2014/main" id="{FBABC9A2-7C01-29F8-DC69-C5D139CD76CC}"/>
              </a:ext>
            </a:extLst>
          </p:cNvPr>
          <p:cNvSpPr/>
          <p:nvPr/>
        </p:nvSpPr>
        <p:spPr>
          <a:xfrm>
            <a:off x="2160244" y="4464087"/>
            <a:ext cx="1296000" cy="576000"/>
          </a:xfrm>
          <a:prstGeom prst="roundRect">
            <a:avLst>
              <a:gd name="adj" fmla="val 13029"/>
            </a:avLst>
          </a:prstGeom>
          <a:solidFill>
            <a:srgbClr val="00B050"/>
          </a:solidFill>
          <a:ln w="15875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72000" tIns="36000" rIns="36000" bIns="36000" rtlCol="0" anchor="t"/>
          <a:lstStyle/>
          <a:p>
            <a:pPr defTabSz="816400">
              <a:buSzPct val="110000"/>
            </a:pPr>
            <a:r>
              <a:rPr lang="nl-NL" sz="800" ker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verancierselectie</a:t>
            </a:r>
          </a:p>
          <a:p>
            <a:pPr marL="85501" indent="-85501" defTabSz="816400">
              <a:buSzPct val="110000"/>
              <a:buFont typeface="Wingdings" panose="05000000000000000000" pitchFamily="2" charset="2"/>
              <a:buChar char="§"/>
              <a:defRPr/>
            </a:pPr>
            <a:r>
              <a:rPr lang="nl-NL" sz="600" ker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ij doen zaken met partijen die aansluiten bij ons ESG beleid</a:t>
            </a:r>
          </a:p>
        </p:txBody>
      </p:sp>
      <p:sp>
        <p:nvSpPr>
          <p:cNvPr id="113" name="Rectangle: Rounded Corners 65">
            <a:extLst>
              <a:ext uri="{FF2B5EF4-FFF2-40B4-BE49-F238E27FC236}">
                <a16:creationId xmlns:a16="http://schemas.microsoft.com/office/drawing/2014/main" id="{2A7B87EF-548E-0738-B533-9914480828F9}"/>
              </a:ext>
            </a:extLst>
          </p:cNvPr>
          <p:cNvSpPr/>
          <p:nvPr/>
        </p:nvSpPr>
        <p:spPr>
          <a:xfrm>
            <a:off x="2160244" y="3384087"/>
            <a:ext cx="1296000" cy="576000"/>
          </a:xfrm>
          <a:prstGeom prst="roundRect">
            <a:avLst>
              <a:gd name="adj" fmla="val 13029"/>
            </a:avLst>
          </a:prstGeom>
          <a:solidFill>
            <a:schemeClr val="bg2">
              <a:lumMod val="90000"/>
            </a:schemeClr>
          </a:solidFill>
          <a:ln w="28575" cap="flat" cmpd="sng" algn="ctr">
            <a:noFill/>
            <a:prstDash val="solid"/>
            <a:miter lim="800000"/>
          </a:ln>
          <a:effectLst/>
        </p:spPr>
        <p:txBody>
          <a:bodyPr wrap="square" lIns="72000" tIns="36000" rIns="36000" bIns="36000" rtlCol="0" anchor="t"/>
          <a:lstStyle/>
          <a:p>
            <a:pPr defTabSz="816400">
              <a:buSzPct val="110000"/>
            </a:pPr>
            <a:r>
              <a:rPr lang="nl-NL" sz="8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G GAP</a:t>
            </a:r>
          </a:p>
          <a:p>
            <a:pPr marL="85501" indent="-85501" defTabSz="816400">
              <a:buSzPct val="110000"/>
              <a:buFont typeface="Wingdings" panose="05000000000000000000" pitchFamily="2" charset="2"/>
              <a:buChar char="§"/>
              <a:defRPr/>
            </a:pPr>
            <a:r>
              <a:rPr lang="nl-NL" sz="6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nuit Materialiteit analyse gericht Moeten en Willen implementeren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F60A7BE8-6C23-F9B1-3A0E-D55ABE845463}"/>
              </a:ext>
            </a:extLst>
          </p:cNvPr>
          <p:cNvSpPr/>
          <p:nvPr/>
        </p:nvSpPr>
        <p:spPr>
          <a:xfrm>
            <a:off x="8856244" y="4752087"/>
            <a:ext cx="2016000" cy="432000"/>
          </a:xfrm>
          <a:prstGeom prst="rect">
            <a:avLst/>
          </a:prstGeom>
          <a:solidFill>
            <a:srgbClr val="FFFFFF"/>
          </a:solidFill>
          <a:ln w="15875" cap="flat" cmpd="sng" algn="ctr">
            <a:solidFill>
              <a:schemeClr val="bg2">
                <a:lumMod val="50000"/>
              </a:schemeClr>
            </a:solidFill>
            <a:prstDash val="solid"/>
            <a:miter lim="800000"/>
          </a:ln>
          <a:effectLst/>
        </p:spPr>
        <p:txBody>
          <a:bodyPr wrap="square" lIns="72000" tIns="36000" rIns="36000" bIns="36000" rtlCol="0" anchor="ctr"/>
          <a:lstStyle/>
          <a:p>
            <a:pPr defTabSz="816400">
              <a:spcAft>
                <a:spcPts val="283"/>
              </a:spcAft>
            </a:pPr>
            <a:r>
              <a:rPr lang="nl-NL" sz="800" kern="0" spc="38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dewerkers = juiste mensen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46A3E733-3A78-4396-8361-6B309BE2498F}"/>
              </a:ext>
            </a:extLst>
          </p:cNvPr>
          <p:cNvSpPr/>
          <p:nvPr/>
        </p:nvSpPr>
        <p:spPr>
          <a:xfrm>
            <a:off x="576244" y="5112087"/>
            <a:ext cx="1152000" cy="288000"/>
          </a:xfrm>
          <a:prstGeom prst="rect">
            <a:avLst/>
          </a:prstGeom>
          <a:solidFill>
            <a:srgbClr val="FFFFFF"/>
          </a:solidFill>
          <a:ln w="15875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wrap="square" lIns="34017" tIns="17007" rIns="34017" bIns="34017" rtlCol="0" anchor="ctr"/>
          <a:lstStyle/>
          <a:p>
            <a:pPr algn="ctr" defTabSz="816400">
              <a:spcAft>
                <a:spcPts val="283"/>
              </a:spcAft>
            </a:pPr>
            <a:r>
              <a:rPr lang="nl-NL" sz="756" kern="0" spc="76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veranciers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899C98DF-1B3D-4B29-B4D7-AA7EA98A0950}"/>
              </a:ext>
            </a:extLst>
          </p:cNvPr>
          <p:cNvSpPr/>
          <p:nvPr/>
        </p:nvSpPr>
        <p:spPr>
          <a:xfrm>
            <a:off x="576244" y="1512087"/>
            <a:ext cx="1152000" cy="288000"/>
          </a:xfrm>
          <a:prstGeom prst="rect">
            <a:avLst/>
          </a:prstGeom>
          <a:solidFill>
            <a:srgbClr val="FFFFFF"/>
          </a:solidFill>
          <a:ln w="15875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wrap="square" lIns="34017" tIns="17007" rIns="34017" bIns="34017" rtlCol="0" anchor="ctr"/>
          <a:lstStyle/>
          <a:p>
            <a:pPr algn="ctr" defTabSz="816400">
              <a:spcAft>
                <a:spcPts val="283"/>
              </a:spcAft>
            </a:pPr>
            <a:r>
              <a:rPr lang="nl-NL" sz="756" kern="0" spc="76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lanten</a:t>
            </a:r>
          </a:p>
        </p:txBody>
      </p:sp>
      <p:sp>
        <p:nvSpPr>
          <p:cNvPr id="102" name="Rectangle: Rounded Corners 65">
            <a:extLst>
              <a:ext uri="{FF2B5EF4-FFF2-40B4-BE49-F238E27FC236}">
                <a16:creationId xmlns:a16="http://schemas.microsoft.com/office/drawing/2014/main" id="{FE4963F7-D7C1-12BA-2998-D8FEB1DCBFB6}"/>
              </a:ext>
            </a:extLst>
          </p:cNvPr>
          <p:cNvSpPr/>
          <p:nvPr/>
        </p:nvSpPr>
        <p:spPr>
          <a:xfrm>
            <a:off x="2160244" y="1944087"/>
            <a:ext cx="1287806" cy="576000"/>
          </a:xfrm>
          <a:prstGeom prst="roundRect">
            <a:avLst>
              <a:gd name="adj" fmla="val 13029"/>
            </a:avLst>
          </a:prstGeom>
          <a:solidFill>
            <a:schemeClr val="bg2">
              <a:lumMod val="90000"/>
            </a:schemeClr>
          </a:solidFill>
          <a:ln w="15875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72000" tIns="36000" rIns="36000" bIns="36000" rtlCol="0" anchor="t"/>
          <a:lstStyle/>
          <a:p>
            <a:pPr defTabSz="816400">
              <a:buSzPct val="110000"/>
            </a:pPr>
            <a:r>
              <a:rPr lang="nl-NL" sz="8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drijven markt</a:t>
            </a:r>
          </a:p>
          <a:p>
            <a:pPr marL="85501" indent="-85501" defTabSz="816400">
              <a:buSzPct val="110000"/>
              <a:buFont typeface="Wingdings" panose="05000000000000000000" pitchFamily="2" charset="2"/>
              <a:buChar char="§"/>
              <a:defRPr/>
            </a:pPr>
            <a:r>
              <a:rPr lang="nl-NL" sz="6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open van organisaties die het beleid van SWO versterken</a:t>
            </a:r>
          </a:p>
        </p:txBody>
      </p:sp>
      <p:sp>
        <p:nvSpPr>
          <p:cNvPr id="103" name="Rectangle: Rounded Corners 65">
            <a:extLst>
              <a:ext uri="{FF2B5EF4-FFF2-40B4-BE49-F238E27FC236}">
                <a16:creationId xmlns:a16="http://schemas.microsoft.com/office/drawing/2014/main" id="{BFF4AFF0-AB09-10E8-CAE8-91C62D12966F}"/>
              </a:ext>
            </a:extLst>
          </p:cNvPr>
          <p:cNvSpPr/>
          <p:nvPr/>
        </p:nvSpPr>
        <p:spPr>
          <a:xfrm>
            <a:off x="3744244" y="1368087"/>
            <a:ext cx="1296000" cy="576000"/>
          </a:xfrm>
          <a:prstGeom prst="roundRect">
            <a:avLst>
              <a:gd name="adj" fmla="val 13029"/>
            </a:avLst>
          </a:prstGeom>
          <a:solidFill>
            <a:srgbClr val="7030A0"/>
          </a:solidFill>
          <a:ln w="15875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72000" tIns="36000" rIns="36000" bIns="36000" rtlCol="0" anchor="t"/>
          <a:lstStyle/>
          <a:p>
            <a:pPr defTabSz="816400">
              <a:buSzPct val="110000"/>
            </a:pPr>
            <a:r>
              <a:rPr lang="nl-NL" sz="800" ker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lectie klanten</a:t>
            </a:r>
          </a:p>
          <a:p>
            <a:pPr marL="85501" indent="-85501" defTabSz="816400">
              <a:buSzPct val="110000"/>
              <a:buFont typeface="Wingdings" panose="05000000000000000000" pitchFamily="2" charset="2"/>
              <a:buChar char="§"/>
              <a:defRPr/>
            </a:pPr>
            <a:r>
              <a:rPr lang="nl-NL" sz="600" ker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antrekken en selecteren van klanten o.b.v. Willen en Moeten</a:t>
            </a:r>
          </a:p>
        </p:txBody>
      </p:sp>
      <p:sp>
        <p:nvSpPr>
          <p:cNvPr id="104" name="Rectangle: Rounded Corners 65">
            <a:extLst>
              <a:ext uri="{FF2B5EF4-FFF2-40B4-BE49-F238E27FC236}">
                <a16:creationId xmlns:a16="http://schemas.microsoft.com/office/drawing/2014/main" id="{2B96F476-998B-54A7-C130-8F9E9B9CA477}"/>
              </a:ext>
            </a:extLst>
          </p:cNvPr>
          <p:cNvSpPr/>
          <p:nvPr/>
        </p:nvSpPr>
        <p:spPr>
          <a:xfrm>
            <a:off x="5328244" y="1368087"/>
            <a:ext cx="1296000" cy="576000"/>
          </a:xfrm>
          <a:prstGeom prst="roundRect">
            <a:avLst>
              <a:gd name="adj" fmla="val 13029"/>
            </a:avLst>
          </a:prstGeom>
          <a:solidFill>
            <a:srgbClr val="7030A0"/>
          </a:solidFill>
          <a:ln w="15875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72000" tIns="36000" rIns="36000" bIns="36000" rtlCol="0" anchor="t"/>
          <a:lstStyle/>
          <a:p>
            <a:pPr defTabSz="816400">
              <a:buSzPct val="110000"/>
            </a:pPr>
            <a:r>
              <a:rPr lang="nl-NL" sz="800" ker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ype klanten</a:t>
            </a:r>
          </a:p>
          <a:p>
            <a:pPr marL="85501" indent="-85501" defTabSz="816400">
              <a:buSzPct val="110000"/>
              <a:buFont typeface="Wingdings" panose="05000000000000000000" pitchFamily="2" charset="2"/>
              <a:buChar char="§"/>
              <a:defRPr/>
            </a:pPr>
            <a:r>
              <a:rPr lang="nl-NL" sz="600" ker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lanten die zingevend werk creëren voor medewerkers</a:t>
            </a:r>
          </a:p>
        </p:txBody>
      </p:sp>
      <p:sp>
        <p:nvSpPr>
          <p:cNvPr id="112" name="Rectangle: Rounded Corners 65">
            <a:extLst>
              <a:ext uri="{FF2B5EF4-FFF2-40B4-BE49-F238E27FC236}">
                <a16:creationId xmlns:a16="http://schemas.microsoft.com/office/drawing/2014/main" id="{EB596A8C-B031-5C09-080D-7112D0CD0913}"/>
              </a:ext>
            </a:extLst>
          </p:cNvPr>
          <p:cNvSpPr/>
          <p:nvPr/>
        </p:nvSpPr>
        <p:spPr>
          <a:xfrm>
            <a:off x="2160244" y="2664087"/>
            <a:ext cx="1296000" cy="576000"/>
          </a:xfrm>
          <a:prstGeom prst="roundRect">
            <a:avLst>
              <a:gd name="adj" fmla="val 13029"/>
            </a:avLst>
          </a:prstGeom>
          <a:solidFill>
            <a:schemeClr val="bg2">
              <a:lumMod val="90000"/>
            </a:schemeClr>
          </a:solidFill>
          <a:ln w="15875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72000" tIns="36000" rIns="36000" bIns="36000" rtlCol="0" anchor="t"/>
          <a:lstStyle/>
          <a:p>
            <a:pPr defTabSz="816400">
              <a:buSzPct val="110000"/>
            </a:pPr>
            <a:r>
              <a:rPr lang="nl-NL" sz="8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G beleid</a:t>
            </a:r>
          </a:p>
          <a:p>
            <a:pPr marL="85501" indent="-85501" defTabSz="816400">
              <a:buSzPct val="110000"/>
              <a:buFont typeface="Wingdings" panose="05000000000000000000" pitchFamily="2" charset="2"/>
              <a:buChar char="§"/>
              <a:defRPr/>
            </a:pPr>
            <a:r>
              <a:rPr lang="nl-NL" sz="6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rtaald naar wetgeving (Moeten) en de SWO eigen ambitie (Willen) </a:t>
            </a:r>
          </a:p>
        </p:txBody>
      </p:sp>
      <p:sp>
        <p:nvSpPr>
          <p:cNvPr id="105" name="Rectangle: Rounded Corners 65">
            <a:extLst>
              <a:ext uri="{FF2B5EF4-FFF2-40B4-BE49-F238E27FC236}">
                <a16:creationId xmlns:a16="http://schemas.microsoft.com/office/drawing/2014/main" id="{7C2519F3-D3C7-7446-AB06-2679F3CD5227}"/>
              </a:ext>
            </a:extLst>
          </p:cNvPr>
          <p:cNvSpPr/>
          <p:nvPr/>
        </p:nvSpPr>
        <p:spPr>
          <a:xfrm>
            <a:off x="6912244" y="2592087"/>
            <a:ext cx="1440000" cy="1368000"/>
          </a:xfrm>
          <a:prstGeom prst="roundRect">
            <a:avLst>
              <a:gd name="adj" fmla="val 5556"/>
            </a:avLst>
          </a:prstGeom>
          <a:solidFill>
            <a:srgbClr val="7030A0"/>
          </a:solidFill>
          <a:ln w="28575" cap="flat" cmpd="sng" algn="ctr">
            <a:noFill/>
            <a:prstDash val="solid"/>
            <a:miter lim="800000"/>
          </a:ln>
          <a:effectLst/>
        </p:spPr>
        <p:txBody>
          <a:bodyPr wrap="square" lIns="34017" tIns="17007" rIns="34017" bIns="34017" rtlCol="0" anchor="t"/>
          <a:lstStyle/>
          <a:p>
            <a:pPr algn="ctr" defTabSz="816400">
              <a:spcAft>
                <a:spcPts val="283"/>
              </a:spcAft>
              <a:buSzPct val="110000"/>
            </a:pPr>
            <a:r>
              <a:rPr lang="nl-NL" sz="800" kern="0" spc="38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alyse</a:t>
            </a:r>
            <a:endParaRPr lang="nl-NL" sz="800" kern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defTabSz="816400">
              <a:buSzPct val="110000"/>
              <a:defRPr/>
            </a:pPr>
            <a:endParaRPr lang="nl-NL" sz="800" kern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6" name="Rectangle: Rounded Corners 65">
            <a:extLst>
              <a:ext uri="{FF2B5EF4-FFF2-40B4-BE49-F238E27FC236}">
                <a16:creationId xmlns:a16="http://schemas.microsoft.com/office/drawing/2014/main" id="{09582C64-0ED5-9EB7-29AB-C748BC04968B}"/>
              </a:ext>
            </a:extLst>
          </p:cNvPr>
          <p:cNvSpPr/>
          <p:nvPr/>
        </p:nvSpPr>
        <p:spPr>
          <a:xfrm>
            <a:off x="6984244" y="2952087"/>
            <a:ext cx="1296000" cy="432000"/>
          </a:xfrm>
          <a:prstGeom prst="roundRect">
            <a:avLst>
              <a:gd name="adj" fmla="val 13029"/>
            </a:avLst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</a:ln>
          <a:effectLst/>
        </p:spPr>
        <p:txBody>
          <a:bodyPr wrap="square" lIns="34017" tIns="17007" rIns="34017" bIns="34017" rtlCol="0" anchor="ctr"/>
          <a:lstStyle/>
          <a:p>
            <a:pPr defTabSz="816400">
              <a:spcAft>
                <a:spcPts val="283"/>
              </a:spcAft>
              <a:buSzPct val="110000"/>
            </a:pPr>
            <a:r>
              <a:rPr lang="nl-NL" sz="8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G – Moeten vanuit wetgeving</a:t>
            </a:r>
          </a:p>
        </p:txBody>
      </p:sp>
      <p:sp>
        <p:nvSpPr>
          <p:cNvPr id="107" name="Rectangle: Rounded Corners 65">
            <a:extLst>
              <a:ext uri="{FF2B5EF4-FFF2-40B4-BE49-F238E27FC236}">
                <a16:creationId xmlns:a16="http://schemas.microsoft.com/office/drawing/2014/main" id="{1CEE17F8-FA93-CB6B-D502-855920C75DDF}"/>
              </a:ext>
            </a:extLst>
          </p:cNvPr>
          <p:cNvSpPr/>
          <p:nvPr/>
        </p:nvSpPr>
        <p:spPr>
          <a:xfrm>
            <a:off x="6986654" y="3456087"/>
            <a:ext cx="1296000" cy="432000"/>
          </a:xfrm>
          <a:prstGeom prst="roundRect">
            <a:avLst>
              <a:gd name="adj" fmla="val 13029"/>
            </a:avLst>
          </a:prstGeom>
          <a:solidFill>
            <a:srgbClr val="00B050"/>
          </a:solidFill>
          <a:ln w="28575" cap="flat" cmpd="sng" algn="ctr">
            <a:noFill/>
            <a:prstDash val="solid"/>
            <a:miter lim="800000"/>
          </a:ln>
          <a:effectLst/>
        </p:spPr>
        <p:txBody>
          <a:bodyPr wrap="square" lIns="34017" tIns="17007" rIns="34017" bIns="34017" rtlCol="0" anchor="t"/>
          <a:lstStyle/>
          <a:p>
            <a:pPr defTabSz="816400">
              <a:spcAft>
                <a:spcPts val="283"/>
              </a:spcAft>
              <a:buSzPct val="110000"/>
            </a:pPr>
            <a:r>
              <a:rPr lang="nl-NL" sz="800" ker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WO duurzaam Willen verbeteren </a:t>
            </a:r>
          </a:p>
          <a:p>
            <a:pPr defTabSz="816400">
              <a:buSzPct val="110000"/>
              <a:defRPr/>
            </a:pPr>
            <a:endParaRPr lang="nl-NL" sz="661" kern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8" name="Rectangle: Rounded Corners 65">
            <a:extLst>
              <a:ext uri="{FF2B5EF4-FFF2-40B4-BE49-F238E27FC236}">
                <a16:creationId xmlns:a16="http://schemas.microsoft.com/office/drawing/2014/main" id="{9102A59D-508D-8E2E-6239-94DFA3AF6473}"/>
              </a:ext>
            </a:extLst>
          </p:cNvPr>
          <p:cNvSpPr/>
          <p:nvPr/>
        </p:nvSpPr>
        <p:spPr>
          <a:xfrm>
            <a:off x="5328244" y="4464087"/>
            <a:ext cx="1296000" cy="576000"/>
          </a:xfrm>
          <a:prstGeom prst="roundRect">
            <a:avLst>
              <a:gd name="adj" fmla="val 13029"/>
            </a:avLst>
          </a:prstGeom>
          <a:solidFill>
            <a:srgbClr val="00B050"/>
          </a:solidFill>
          <a:ln w="15875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72000" tIns="36000" rIns="18000" bIns="36000" rtlCol="0" anchor="t"/>
          <a:lstStyle/>
          <a:p>
            <a:pPr defTabSz="816400">
              <a:buSzPct val="110000"/>
            </a:pPr>
            <a:r>
              <a:rPr lang="nl-NL" sz="800" ker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novatieproces</a:t>
            </a:r>
          </a:p>
          <a:p>
            <a:pPr marL="85501" indent="-85501" defTabSz="816400">
              <a:buSzPct val="110000"/>
              <a:buFont typeface="Wingdings" panose="05000000000000000000" pitchFamily="2" charset="2"/>
              <a:buChar char="§"/>
              <a:defRPr/>
            </a:pPr>
            <a:r>
              <a:rPr lang="nl-NL" sz="600" ker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tinu verbeteren van de dienstverlening en aanscherpen van het Moeten en Willen</a:t>
            </a:r>
          </a:p>
        </p:txBody>
      </p:sp>
      <p:sp>
        <p:nvSpPr>
          <p:cNvPr id="116" name="Rectangle: Rounded Corners 65">
            <a:extLst>
              <a:ext uri="{FF2B5EF4-FFF2-40B4-BE49-F238E27FC236}">
                <a16:creationId xmlns:a16="http://schemas.microsoft.com/office/drawing/2014/main" id="{E4B31689-58CF-59C6-243C-36867170C5EC}"/>
              </a:ext>
            </a:extLst>
          </p:cNvPr>
          <p:cNvSpPr/>
          <p:nvPr/>
        </p:nvSpPr>
        <p:spPr>
          <a:xfrm>
            <a:off x="6984244" y="4464087"/>
            <a:ext cx="1296000" cy="576000"/>
          </a:xfrm>
          <a:prstGeom prst="roundRect">
            <a:avLst>
              <a:gd name="adj" fmla="val 9501"/>
            </a:avLst>
          </a:prstGeom>
          <a:solidFill>
            <a:schemeClr val="bg2">
              <a:lumMod val="90000"/>
            </a:schemeClr>
          </a:solidFill>
          <a:ln w="15875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72000" tIns="36000" rIns="36000" bIns="36000" rtlCol="0" anchor="t"/>
          <a:lstStyle/>
          <a:p>
            <a:pPr defTabSz="816400">
              <a:buSzPct val="110000"/>
            </a:pPr>
            <a:r>
              <a:rPr lang="nl-NL" sz="8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T &amp; Processen</a:t>
            </a:r>
          </a:p>
          <a:p>
            <a:pPr marL="85501" indent="-85501" defTabSz="816400">
              <a:buSzPct val="110000"/>
              <a:buFont typeface="Wingdings" panose="05000000000000000000" pitchFamily="2" charset="2"/>
              <a:buChar char="§"/>
              <a:defRPr/>
            </a:pPr>
            <a:r>
              <a:rPr lang="nl-NL" sz="6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G </a:t>
            </a:r>
            <a:r>
              <a:rPr lang="nl-NL" sz="600" kern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of</a:t>
            </a:r>
            <a:r>
              <a:rPr lang="nl-NL" sz="6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ls grondslag voor het Moeten en Willen 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AF057A3-630B-4383-B9B4-3391793D9EB7}"/>
              </a:ext>
            </a:extLst>
          </p:cNvPr>
          <p:cNvSpPr/>
          <p:nvPr/>
        </p:nvSpPr>
        <p:spPr>
          <a:xfrm>
            <a:off x="8784244" y="2520087"/>
            <a:ext cx="2160000" cy="1512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algn="ctr" defTabSz="816400"/>
            <a:r>
              <a:rPr lang="nl-NL" sz="800" ker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andeelhouder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2EB61234-418C-49C4-B10A-7AAA509297F2}"/>
              </a:ext>
            </a:extLst>
          </p:cNvPr>
          <p:cNvSpPr/>
          <p:nvPr/>
        </p:nvSpPr>
        <p:spPr>
          <a:xfrm>
            <a:off x="8856244" y="2736087"/>
            <a:ext cx="2016000" cy="360000"/>
          </a:xfrm>
          <a:prstGeom prst="rect">
            <a:avLst/>
          </a:prstGeom>
          <a:solidFill>
            <a:srgbClr val="FFFFFF"/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wrap="square" lIns="72000" tIns="36000" rIns="36000" bIns="36000" rtlCol="0" anchor="t"/>
          <a:lstStyle/>
          <a:p>
            <a:pPr defTabSz="816400">
              <a:spcAft>
                <a:spcPts val="283"/>
              </a:spcAft>
            </a:pPr>
            <a:r>
              <a:rPr lang="nl-NL" sz="800" kern="0" spc="38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nancieel rendement</a:t>
            </a:r>
          </a:p>
          <a:p>
            <a:pPr marL="90488" indent="-90488" defTabSz="816400">
              <a:spcAft>
                <a:spcPts val="283"/>
              </a:spcAft>
              <a:buFont typeface="Arial" panose="020B0604020202020204" pitchFamily="34" charset="0"/>
              <a:buChar char="•"/>
            </a:pPr>
            <a:r>
              <a:rPr lang="nl-NL" sz="8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BITDA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76616D14-0A58-4D2D-A6A6-129AD3DE926B}"/>
              </a:ext>
            </a:extLst>
          </p:cNvPr>
          <p:cNvSpPr/>
          <p:nvPr/>
        </p:nvSpPr>
        <p:spPr>
          <a:xfrm>
            <a:off x="8856244" y="3168087"/>
            <a:ext cx="2016000" cy="360000"/>
          </a:xfrm>
          <a:prstGeom prst="rect">
            <a:avLst/>
          </a:prstGeom>
          <a:solidFill>
            <a:srgbClr val="FFFFFF"/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wrap="square" lIns="72000" tIns="36000" rIns="36000" bIns="36000" rtlCol="0" anchor="t"/>
          <a:lstStyle/>
          <a:p>
            <a:pPr defTabSz="816400">
              <a:spcAft>
                <a:spcPts val="283"/>
              </a:spcAft>
            </a:pPr>
            <a:r>
              <a:rPr lang="nl-NL" sz="800" kern="0" spc="38">
                <a:latin typeface="Open Sans"/>
                <a:ea typeface="Open Sans"/>
                <a:cs typeface="Open Sans"/>
              </a:rPr>
              <a:t>Compliant zijn = Boetes en pauzes op jaarverslag voorkomen.</a:t>
            </a:r>
          </a:p>
          <a:p>
            <a:pPr defTabSz="816400">
              <a:spcAft>
                <a:spcPts val="283"/>
              </a:spcAft>
            </a:pPr>
            <a:endParaRPr lang="nl-NL" sz="800" kern="0" spc="38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49391E2E-D8BA-419A-BC81-62CBAB40C523}"/>
              </a:ext>
            </a:extLst>
          </p:cNvPr>
          <p:cNvSpPr/>
          <p:nvPr/>
        </p:nvSpPr>
        <p:spPr>
          <a:xfrm>
            <a:off x="8856244" y="3600087"/>
            <a:ext cx="2016000" cy="360000"/>
          </a:xfrm>
          <a:prstGeom prst="rect">
            <a:avLst/>
          </a:prstGeom>
          <a:solidFill>
            <a:srgbClr val="FFFFFF"/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wrap="square" lIns="72000" tIns="36000" rIns="36000" bIns="36000" rtlCol="0" anchor="ctr"/>
          <a:lstStyle/>
          <a:p>
            <a:pPr defTabSz="816400">
              <a:spcAft>
                <a:spcPts val="283"/>
              </a:spcAft>
            </a:pPr>
            <a:r>
              <a:rPr lang="nl-NL" sz="800" kern="0" spc="38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 control = Continuïteit</a:t>
            </a:r>
          </a:p>
        </p:txBody>
      </p:sp>
      <p:sp>
        <p:nvSpPr>
          <p:cNvPr id="101" name="Rectangle 78">
            <a:extLst>
              <a:ext uri="{FF2B5EF4-FFF2-40B4-BE49-F238E27FC236}">
                <a16:creationId xmlns:a16="http://schemas.microsoft.com/office/drawing/2014/main" id="{BC8414DE-AA69-12C5-5183-FCA4573FD528}"/>
              </a:ext>
            </a:extLst>
          </p:cNvPr>
          <p:cNvSpPr/>
          <p:nvPr/>
        </p:nvSpPr>
        <p:spPr>
          <a:xfrm>
            <a:off x="8856244" y="1800087"/>
            <a:ext cx="2016000" cy="576000"/>
          </a:xfrm>
          <a:prstGeom prst="rect">
            <a:avLst/>
          </a:prstGeom>
          <a:solidFill>
            <a:srgbClr val="7030A0"/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wrap="square" lIns="72000" tIns="36000" rIns="36000" bIns="36000" rtlCol="0" anchor="ctr"/>
          <a:lstStyle/>
          <a:p>
            <a:pPr marL="85725" indent="-85725" defTabSz="816400">
              <a:spcAft>
                <a:spcPts val="283"/>
              </a:spcAft>
              <a:buFont typeface="Arial" panose="020B0604020202020204" pitchFamily="34" charset="0"/>
              <a:buChar char="•"/>
            </a:pPr>
            <a:r>
              <a:rPr lang="nl-NL" sz="800" ker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oede financiering ratio (RFG)</a:t>
            </a:r>
          </a:p>
          <a:p>
            <a:pPr marL="85725" indent="-85725" defTabSz="816400">
              <a:spcAft>
                <a:spcPts val="283"/>
              </a:spcAft>
              <a:buFont typeface="Arial" panose="020B0604020202020204" pitchFamily="34" charset="0"/>
              <a:buChar char="•"/>
            </a:pPr>
            <a:r>
              <a:rPr lang="nl-NL" sz="800" ker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leen financiering voor x klanten</a:t>
            </a:r>
          </a:p>
          <a:p>
            <a:pPr marL="85725" indent="-85725" defTabSz="816400">
              <a:spcAft>
                <a:spcPts val="283"/>
              </a:spcAft>
              <a:buFont typeface="Arial" panose="020B0604020202020204" pitchFamily="34" charset="0"/>
              <a:buChar char="•"/>
            </a:pPr>
            <a:r>
              <a:rPr lang="nl-NL" sz="800" ker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richt verbeteren of afscheid nemen</a:t>
            </a:r>
          </a:p>
        </p:txBody>
      </p:sp>
      <p:sp>
        <p:nvSpPr>
          <p:cNvPr id="425" name="Rectangle 78">
            <a:extLst>
              <a:ext uri="{FF2B5EF4-FFF2-40B4-BE49-F238E27FC236}">
                <a16:creationId xmlns:a16="http://schemas.microsoft.com/office/drawing/2014/main" id="{8C560276-D153-BA09-2471-C35E1EA802F5}"/>
              </a:ext>
            </a:extLst>
          </p:cNvPr>
          <p:cNvSpPr/>
          <p:nvPr/>
        </p:nvSpPr>
        <p:spPr>
          <a:xfrm>
            <a:off x="8856244" y="5328087"/>
            <a:ext cx="2016000" cy="576000"/>
          </a:xfrm>
          <a:prstGeom prst="rect">
            <a:avLst/>
          </a:prstGeom>
          <a:solidFill>
            <a:srgbClr val="00B050"/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wrap="square" lIns="72000" tIns="36000" rIns="36000" bIns="36000" rtlCol="0" anchor="ctr"/>
          <a:lstStyle/>
          <a:p>
            <a:pPr defTabSz="816400">
              <a:spcAft>
                <a:spcPts val="283"/>
              </a:spcAft>
            </a:pPr>
            <a:r>
              <a:rPr lang="nl-NL" sz="800" kern="0" spc="38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turn on Energy (ROE)</a:t>
            </a:r>
          </a:p>
          <a:p>
            <a:pPr marL="90488" indent="-90488" defTabSz="816400">
              <a:spcAft>
                <a:spcPts val="283"/>
              </a:spcAft>
              <a:buFont typeface="Arial" panose="020B0604020202020204" pitchFamily="34" charset="0"/>
              <a:buChar char="•"/>
            </a:pPr>
            <a:r>
              <a:rPr lang="nl-NL" sz="800" ker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a 5 jaar 0 op de meter</a:t>
            </a:r>
          </a:p>
          <a:p>
            <a:pPr marL="90488" indent="-90488" defTabSz="816400">
              <a:spcAft>
                <a:spcPts val="283"/>
              </a:spcAft>
              <a:buFont typeface="Arial" panose="020B0604020202020204" pitchFamily="34" charset="0"/>
              <a:buChar char="•"/>
            </a:pPr>
            <a:r>
              <a:rPr lang="nl-NL" sz="800" ker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a 10 jaar initiële bouw inverdiend</a:t>
            </a:r>
          </a:p>
        </p:txBody>
      </p:sp>
      <p:sp>
        <p:nvSpPr>
          <p:cNvPr id="109" name="Rectangle: Rounded Corners 65">
            <a:extLst>
              <a:ext uri="{FF2B5EF4-FFF2-40B4-BE49-F238E27FC236}">
                <a16:creationId xmlns:a16="http://schemas.microsoft.com/office/drawing/2014/main" id="{34726170-6B27-75ED-B2CE-3691E92ECB6D}"/>
              </a:ext>
            </a:extLst>
          </p:cNvPr>
          <p:cNvSpPr/>
          <p:nvPr/>
        </p:nvSpPr>
        <p:spPr>
          <a:xfrm>
            <a:off x="5328244" y="5400087"/>
            <a:ext cx="1296000" cy="720000"/>
          </a:xfrm>
          <a:prstGeom prst="roundRect">
            <a:avLst>
              <a:gd name="adj" fmla="val 10713"/>
            </a:avLst>
          </a:prstGeom>
          <a:solidFill>
            <a:schemeClr val="bg2">
              <a:lumMod val="90000"/>
            </a:schemeClr>
          </a:solidFill>
          <a:ln w="15875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72000" tIns="36000" rIns="18000" bIns="36000" rtlCol="0" anchor="t"/>
          <a:lstStyle/>
          <a:p>
            <a:pPr defTabSz="816400">
              <a:buSzPct val="110000"/>
            </a:pPr>
            <a:r>
              <a:rPr lang="nl-NL" sz="8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rantwoorde activiteiten </a:t>
            </a:r>
          </a:p>
          <a:p>
            <a:pPr marL="85501" indent="-85501" defTabSz="816400">
              <a:buSzPct val="110000"/>
              <a:buFont typeface="Wingdings" panose="05000000000000000000" pitchFamily="2" charset="2"/>
              <a:buChar char="§"/>
              <a:defRPr/>
            </a:pPr>
            <a:r>
              <a:rPr lang="nl-NL" sz="6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tinu verbeteren </a:t>
            </a:r>
            <a:r>
              <a:rPr lang="nl-NL" sz="600" kern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rt</a:t>
            </a:r>
            <a:r>
              <a:rPr lang="nl-NL" sz="6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het ESG beleid vanuit Moeten en Willen</a:t>
            </a:r>
          </a:p>
          <a:p>
            <a:pPr marL="85501" indent="-85501" defTabSz="816400">
              <a:buSzPct val="110000"/>
              <a:buFont typeface="Wingdings" panose="05000000000000000000" pitchFamily="2" charset="2"/>
              <a:buChar char="§"/>
              <a:defRPr/>
            </a:pPr>
            <a:r>
              <a:rPr lang="nl-NL" sz="600" kern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pskill</a:t>
            </a:r>
            <a:r>
              <a:rPr lang="nl-NL" sz="6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&amp; </a:t>
            </a:r>
            <a:r>
              <a:rPr lang="nl-NL" sz="600" kern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skill</a:t>
            </a:r>
            <a:endParaRPr lang="nl-NL" sz="600" kern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D68C080D-3580-4282-9640-5FBFA32093DE}"/>
              </a:ext>
            </a:extLst>
          </p:cNvPr>
          <p:cNvSpPr/>
          <p:nvPr/>
        </p:nvSpPr>
        <p:spPr>
          <a:xfrm>
            <a:off x="576244" y="5616087"/>
            <a:ext cx="1152000" cy="288000"/>
          </a:xfrm>
          <a:prstGeom prst="rect">
            <a:avLst/>
          </a:prstGeom>
          <a:solidFill>
            <a:srgbClr val="FFFFFF"/>
          </a:solidFill>
          <a:ln w="15875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wrap="square" lIns="34017" tIns="17007" rIns="34017" bIns="34017" rtlCol="0" anchor="ctr"/>
          <a:lstStyle/>
          <a:p>
            <a:pPr algn="ctr" defTabSz="816400">
              <a:spcAft>
                <a:spcPts val="283"/>
              </a:spcAft>
            </a:pPr>
            <a:r>
              <a:rPr lang="nl-NL" sz="756" kern="0" spc="76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rbeidsmarkt</a:t>
            </a:r>
          </a:p>
        </p:txBody>
      </p:sp>
      <p:sp>
        <p:nvSpPr>
          <p:cNvPr id="110" name="Rectangle: Rounded Corners 65">
            <a:extLst>
              <a:ext uri="{FF2B5EF4-FFF2-40B4-BE49-F238E27FC236}">
                <a16:creationId xmlns:a16="http://schemas.microsoft.com/office/drawing/2014/main" id="{E06A8588-C6D1-F961-3BA4-2850E9F7D7D2}"/>
              </a:ext>
            </a:extLst>
          </p:cNvPr>
          <p:cNvSpPr/>
          <p:nvPr/>
        </p:nvSpPr>
        <p:spPr>
          <a:xfrm>
            <a:off x="2160244" y="5400087"/>
            <a:ext cx="1296000" cy="720000"/>
          </a:xfrm>
          <a:prstGeom prst="roundRect">
            <a:avLst>
              <a:gd name="adj" fmla="val 8743"/>
            </a:avLst>
          </a:prstGeom>
          <a:solidFill>
            <a:schemeClr val="bg2">
              <a:lumMod val="90000"/>
            </a:schemeClr>
          </a:solidFill>
          <a:ln w="15875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72000" tIns="36000" rIns="36000" bIns="36000" rtlCol="0" anchor="t"/>
          <a:lstStyle/>
          <a:p>
            <a:pPr defTabSz="816400">
              <a:buSzPct val="110000"/>
            </a:pPr>
            <a:r>
              <a:rPr lang="nl-NL" sz="8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ssend type </a:t>
            </a:r>
            <a:r>
              <a:rPr lang="nl-NL" sz="800" kern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dw</a:t>
            </a:r>
            <a:r>
              <a:rPr lang="nl-NL" sz="8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</a:p>
          <a:p>
            <a:pPr marL="85501" indent="-85501" defTabSz="816400">
              <a:buSzPct val="110000"/>
              <a:buFont typeface="Wingdings" panose="05000000000000000000" pitchFamily="2" charset="2"/>
              <a:buChar char="§"/>
              <a:defRPr/>
            </a:pPr>
            <a:r>
              <a:rPr lang="nl-NL" sz="6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WO is aantrekkelijk</a:t>
            </a:r>
          </a:p>
          <a:p>
            <a:pPr marL="85501" indent="-85501" defTabSz="816400">
              <a:buSzPct val="110000"/>
              <a:buFont typeface="Wingdings" panose="05000000000000000000" pitchFamily="2" charset="2"/>
              <a:buChar char="§"/>
              <a:defRPr/>
            </a:pPr>
            <a:r>
              <a:rPr lang="nl-NL" sz="6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oert een D&amp;I beleid</a:t>
            </a:r>
          </a:p>
          <a:p>
            <a:pPr marL="85501" indent="-85501" defTabSz="816400">
              <a:buSzPct val="110000"/>
              <a:buFont typeface="Wingdings" panose="05000000000000000000" pitchFamily="2" charset="2"/>
              <a:buChar char="§"/>
              <a:defRPr/>
            </a:pPr>
            <a:r>
              <a:rPr lang="nl-NL" sz="6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isen stellen conform beleid</a:t>
            </a:r>
          </a:p>
          <a:p>
            <a:pPr marL="85501" indent="-85501" defTabSz="816400">
              <a:buSzPct val="110000"/>
              <a:buFont typeface="Wingdings" panose="05000000000000000000" pitchFamily="2" charset="2"/>
              <a:buChar char="§"/>
              <a:defRPr/>
            </a:pPr>
            <a:r>
              <a:rPr lang="nl-NL" sz="6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ij aanname stijgt de ESG kennis (is dus al aanwezig)</a:t>
            </a:r>
          </a:p>
        </p:txBody>
      </p:sp>
      <p:sp>
        <p:nvSpPr>
          <p:cNvPr id="114" name="Rectangle: Rounded Corners 65">
            <a:extLst>
              <a:ext uri="{FF2B5EF4-FFF2-40B4-BE49-F238E27FC236}">
                <a16:creationId xmlns:a16="http://schemas.microsoft.com/office/drawing/2014/main" id="{6562AB70-D6F8-1915-0E1C-C3E59E4FBBE0}"/>
              </a:ext>
            </a:extLst>
          </p:cNvPr>
          <p:cNvSpPr/>
          <p:nvPr/>
        </p:nvSpPr>
        <p:spPr>
          <a:xfrm>
            <a:off x="5328244" y="3384087"/>
            <a:ext cx="1296000" cy="576000"/>
          </a:xfrm>
          <a:prstGeom prst="roundRect">
            <a:avLst>
              <a:gd name="adj" fmla="val 13029"/>
            </a:avLst>
          </a:prstGeom>
          <a:solidFill>
            <a:schemeClr val="bg2">
              <a:lumMod val="90000"/>
            </a:schemeClr>
          </a:solidFill>
          <a:ln w="15875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72000" tIns="36000" rIns="36000" bIns="36000" rtlCol="0" anchor="t"/>
          <a:lstStyle/>
          <a:p>
            <a:pPr defTabSz="816400">
              <a:buSzPct val="110000"/>
            </a:pPr>
            <a:r>
              <a:rPr lang="nl-NL" sz="8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fwegingskader</a:t>
            </a:r>
          </a:p>
          <a:p>
            <a:pPr marL="85501" indent="-85501" defTabSz="816400">
              <a:buSzPct val="110000"/>
              <a:buFont typeface="Wingdings" panose="05000000000000000000" pitchFamily="2" charset="2"/>
              <a:buChar char="§"/>
              <a:defRPr/>
            </a:pPr>
            <a:r>
              <a:rPr lang="nl-NL" sz="600" ker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tinu toetsen van het kader om de juiste besluiten te nemen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A9D782D-7563-46E1-BAB2-D675D9DB4791}"/>
              </a:ext>
            </a:extLst>
          </p:cNvPr>
          <p:cNvSpPr/>
          <p:nvPr/>
        </p:nvSpPr>
        <p:spPr>
          <a:xfrm>
            <a:off x="576244" y="2952087"/>
            <a:ext cx="1152000" cy="288000"/>
          </a:xfrm>
          <a:prstGeom prst="rect">
            <a:avLst/>
          </a:prstGeom>
          <a:solidFill>
            <a:srgbClr val="FFFFFF"/>
          </a:solidFill>
          <a:ln w="15875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wrap="square" lIns="34017" tIns="17007" rIns="34017" bIns="34017" rtlCol="0" anchor="ctr"/>
          <a:lstStyle/>
          <a:p>
            <a:pPr algn="ctr" defTabSz="816400">
              <a:spcAft>
                <a:spcPts val="283"/>
              </a:spcAft>
            </a:pPr>
            <a:r>
              <a:rPr lang="nl-NL" sz="756" kern="0" spc="76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rkgever</a:t>
            </a: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7D219A56-2524-8972-BA31-E39BD2F6AFF4}"/>
              </a:ext>
            </a:extLst>
          </p:cNvPr>
          <p:cNvSpPr/>
          <p:nvPr/>
        </p:nvSpPr>
        <p:spPr>
          <a:xfrm>
            <a:off x="8856244" y="4176087"/>
            <a:ext cx="2016000" cy="432000"/>
          </a:xfrm>
          <a:prstGeom prst="rect">
            <a:avLst/>
          </a:prstGeom>
          <a:solidFill>
            <a:srgbClr val="FFFFFF"/>
          </a:solidFill>
          <a:ln w="15875" cap="flat" cmpd="sng" algn="ctr">
            <a:solidFill>
              <a:schemeClr val="bg2">
                <a:lumMod val="50000"/>
              </a:schemeClr>
            </a:solidFill>
            <a:prstDash val="solid"/>
            <a:miter lim="800000"/>
          </a:ln>
          <a:effectLst/>
        </p:spPr>
        <p:txBody>
          <a:bodyPr wrap="square" lIns="72000" tIns="36000" rIns="36000" bIns="36000" rtlCol="0" anchor="ctr"/>
          <a:lstStyle/>
          <a:p>
            <a:pPr defTabSz="816400">
              <a:spcAft>
                <a:spcPts val="283"/>
              </a:spcAft>
            </a:pPr>
            <a:r>
              <a:rPr lang="nl-NL" sz="800" kern="0" spc="38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ago voor klant en ketenpartners</a:t>
            </a:r>
            <a:endParaRPr lang="nl-NL" sz="800" kern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5" name="Rectangle: Rounded Corners 65">
            <a:extLst>
              <a:ext uri="{FF2B5EF4-FFF2-40B4-BE49-F238E27FC236}">
                <a16:creationId xmlns:a16="http://schemas.microsoft.com/office/drawing/2014/main" id="{ACE6F34C-14B6-DDF2-660E-CB6EA80219F3}"/>
              </a:ext>
            </a:extLst>
          </p:cNvPr>
          <p:cNvSpPr/>
          <p:nvPr/>
        </p:nvSpPr>
        <p:spPr>
          <a:xfrm>
            <a:off x="3744244" y="2592087"/>
            <a:ext cx="1296000" cy="720000"/>
          </a:xfrm>
          <a:prstGeom prst="roundRect">
            <a:avLst>
              <a:gd name="adj" fmla="val 13029"/>
            </a:avLst>
          </a:prstGeom>
          <a:blipFill>
            <a:blip r:embed="rId5"/>
            <a:stretch>
              <a:fillRect/>
            </a:stretch>
          </a:blipFill>
          <a:ln w="50800" cap="flat" cmpd="sng" algn="ctr">
            <a:solidFill>
              <a:srgbClr val="7030A0"/>
            </a:solidFill>
            <a:prstDash val="solid"/>
            <a:miter lim="800000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0" tIns="36000" rIns="36000" bIns="36000" rtlCol="0" anchor="ctr"/>
          <a:lstStyle/>
          <a:p>
            <a:pPr algn="ctr" defTabSz="816400"/>
            <a:r>
              <a:rPr lang="nl-NL" sz="1100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ESG </a:t>
            </a:r>
          </a:p>
          <a:p>
            <a:pPr algn="ctr" defTabSz="816400"/>
            <a:r>
              <a:rPr lang="nl-NL" sz="1100" ker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Datafundament</a:t>
            </a:r>
            <a:endParaRPr lang="nl-NL" sz="1050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cxnSp>
        <p:nvCxnSpPr>
          <p:cNvPr id="308" name="Straight Arrow Connector 307">
            <a:extLst>
              <a:ext uri="{FF2B5EF4-FFF2-40B4-BE49-F238E27FC236}">
                <a16:creationId xmlns:a16="http://schemas.microsoft.com/office/drawing/2014/main" id="{9AEFE238-A16F-BC37-E628-17E8963114AB}"/>
              </a:ext>
            </a:extLst>
          </p:cNvPr>
          <p:cNvCxnSpPr>
            <a:cxnSpLocks/>
            <a:stCxn id="107" idx="1"/>
            <a:endCxn id="114" idx="3"/>
          </p:cNvCxnSpPr>
          <p:nvPr/>
        </p:nvCxnSpPr>
        <p:spPr>
          <a:xfrm flipH="1">
            <a:off x="6624244" y="3672087"/>
            <a:ext cx="362410" cy="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E880AF34-0EC0-E0CE-8E32-EBB952EF8DE9}"/>
              </a:ext>
            </a:extLst>
          </p:cNvPr>
          <p:cNvCxnSpPr>
            <a:cxnSpLocks/>
          </p:cNvCxnSpPr>
          <p:nvPr/>
        </p:nvCxnSpPr>
        <p:spPr>
          <a:xfrm>
            <a:off x="8280244" y="3168087"/>
            <a:ext cx="504000" cy="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5" name="Straight Connector 434">
            <a:extLst>
              <a:ext uri="{FF2B5EF4-FFF2-40B4-BE49-F238E27FC236}">
                <a16:creationId xmlns:a16="http://schemas.microsoft.com/office/drawing/2014/main" id="{F47C2CC6-5E29-FF3D-ECE4-346CC34C81E1}"/>
              </a:ext>
            </a:extLst>
          </p:cNvPr>
          <p:cNvCxnSpPr>
            <a:cxnSpLocks/>
          </p:cNvCxnSpPr>
          <p:nvPr/>
        </p:nvCxnSpPr>
        <p:spPr>
          <a:xfrm>
            <a:off x="8282654" y="3672087"/>
            <a:ext cx="213590" cy="0"/>
          </a:xfrm>
          <a:prstGeom prst="line">
            <a:avLst/>
          </a:prstGeom>
          <a:ln w="12700" cap="rnd">
            <a:solidFill>
              <a:schemeClr val="accent2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C4669166-4013-786B-ABF2-129507D715FA}"/>
              </a:ext>
            </a:extLst>
          </p:cNvPr>
          <p:cNvCxnSpPr>
            <a:cxnSpLocks/>
            <a:endCxn id="101" idx="1"/>
          </p:cNvCxnSpPr>
          <p:nvPr/>
        </p:nvCxnSpPr>
        <p:spPr>
          <a:xfrm>
            <a:off x="5976244" y="2088087"/>
            <a:ext cx="2880000" cy="0"/>
          </a:xfrm>
          <a:prstGeom prst="straightConnector1">
            <a:avLst/>
          </a:prstGeom>
          <a:ln w="12700" cap="rnd">
            <a:solidFill>
              <a:schemeClr val="accent2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A5F5011D-89C6-204D-A325-63C72747C648}"/>
              </a:ext>
            </a:extLst>
          </p:cNvPr>
          <p:cNvCxnSpPr>
            <a:cxnSpLocks/>
            <a:endCxn id="104" idx="2"/>
          </p:cNvCxnSpPr>
          <p:nvPr/>
        </p:nvCxnSpPr>
        <p:spPr>
          <a:xfrm flipV="1">
            <a:off x="5976244" y="1944087"/>
            <a:ext cx="0" cy="144000"/>
          </a:xfrm>
          <a:prstGeom prst="line">
            <a:avLst/>
          </a:prstGeom>
          <a:ln w="12700" cap="rnd">
            <a:solidFill>
              <a:schemeClr val="accent2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F4B5A697-E36E-7372-E974-D295BC928DE3}"/>
              </a:ext>
            </a:extLst>
          </p:cNvPr>
          <p:cNvCxnSpPr>
            <a:cxnSpLocks/>
            <a:endCxn id="68" idx="3"/>
          </p:cNvCxnSpPr>
          <p:nvPr/>
        </p:nvCxnSpPr>
        <p:spPr>
          <a:xfrm flipH="1">
            <a:off x="1728244" y="5256087"/>
            <a:ext cx="1080000" cy="0"/>
          </a:xfrm>
          <a:prstGeom prst="line">
            <a:avLst/>
          </a:prstGeom>
          <a:ln w="12700" cap="rnd">
            <a:solidFill>
              <a:schemeClr val="accent2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8058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F63EFCD1-F47F-648C-8FDB-020C1D79AA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801" y="1368425"/>
            <a:ext cx="2448443" cy="4751388"/>
          </a:xfrm>
        </p:spPr>
        <p:txBody>
          <a:bodyPr/>
          <a:lstStyle/>
          <a:p>
            <a:r>
              <a:rPr lang="nl-NL" sz="1400">
                <a:latin typeface="Montserrat" panose="00000500000000000000" pitchFamily="2" charset="0"/>
              </a:rPr>
              <a:t>Wat zijn de cruciale data objecten? </a:t>
            </a:r>
          </a:p>
          <a:p>
            <a:r>
              <a:rPr lang="nl-NL" sz="1400">
                <a:latin typeface="Montserrat" panose="00000500000000000000" pitchFamily="2" charset="0"/>
              </a:rPr>
              <a:t>Welke prioriteit komt er vanuit de materialiteit analyse?</a:t>
            </a:r>
          </a:p>
          <a:p>
            <a:r>
              <a:rPr lang="nl-NL" sz="1400">
                <a:latin typeface="Montserrat" panose="00000500000000000000" pitchFamily="2" charset="0"/>
              </a:rPr>
              <a:t>Waar zit de grootste gap t.a.v. het ESG beleid?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352680BE-7367-2651-AB68-210F760D447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1114BCFB-E65D-CC78-A969-EF89074C1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799" y="360000"/>
            <a:ext cx="8748482" cy="432000"/>
          </a:xfrm>
        </p:spPr>
        <p:txBody>
          <a:bodyPr/>
          <a:lstStyle/>
          <a:p>
            <a:r>
              <a:rPr lang="nl-NL" sz="2800">
                <a:solidFill>
                  <a:srgbClr val="00B753"/>
                </a:solidFill>
                <a:latin typeface="Montserrat" panose="00000500000000000000" pitchFamily="2" charset="0"/>
              </a:rPr>
              <a:t>Business Objecten Model SWO Nederland</a:t>
            </a: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70BA35D1-BE78-EC8C-F3E2-69F2850B41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244" y="1152087"/>
            <a:ext cx="7247638" cy="5112000"/>
          </a:xfrm>
          <a:prstGeom prst="rect">
            <a:avLst/>
          </a:prstGeom>
        </p:spPr>
      </p:pic>
      <p:sp>
        <p:nvSpPr>
          <p:cNvPr id="15" name="Rechthoek: afgeronde hoeken 14">
            <a:extLst>
              <a:ext uri="{FF2B5EF4-FFF2-40B4-BE49-F238E27FC236}">
                <a16:creationId xmlns:a16="http://schemas.microsoft.com/office/drawing/2014/main" id="{16F1FC7B-DA2E-4800-4654-A6D20644A14F}"/>
              </a:ext>
            </a:extLst>
          </p:cNvPr>
          <p:cNvSpPr/>
          <p:nvPr/>
        </p:nvSpPr>
        <p:spPr>
          <a:xfrm>
            <a:off x="10077956" y="163991"/>
            <a:ext cx="894667" cy="534988"/>
          </a:xfrm>
          <a:prstGeom prst="roundRect">
            <a:avLst>
              <a:gd name="adj" fmla="val 123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07"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6" name="Afbeelding 15">
            <a:extLst>
              <a:ext uri="{FF2B5EF4-FFF2-40B4-BE49-F238E27FC236}">
                <a16:creationId xmlns:a16="http://schemas.microsoft.com/office/drawing/2014/main" id="{AFB26F37-1ADB-AF1F-7AF5-0290074AB0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77956" y="217321"/>
            <a:ext cx="979311" cy="627912"/>
          </a:xfrm>
          <a:prstGeom prst="rect">
            <a:avLst/>
          </a:prstGeom>
        </p:spPr>
      </p:pic>
      <p:sp>
        <p:nvSpPr>
          <p:cNvPr id="18" name="Rechthoek: afgeronde hoeken 17">
            <a:extLst>
              <a:ext uri="{FF2B5EF4-FFF2-40B4-BE49-F238E27FC236}">
                <a16:creationId xmlns:a16="http://schemas.microsoft.com/office/drawing/2014/main" id="{A8C06BCD-DEA5-043C-DE95-3BCEDEC39F4D}"/>
              </a:ext>
            </a:extLst>
          </p:cNvPr>
          <p:cNvSpPr/>
          <p:nvPr/>
        </p:nvSpPr>
        <p:spPr>
          <a:xfrm>
            <a:off x="9264925" y="178429"/>
            <a:ext cx="894667" cy="534988"/>
          </a:xfrm>
          <a:prstGeom prst="roundRect">
            <a:avLst>
              <a:gd name="adj" fmla="val 123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07"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A1643BB1-7EF1-5451-D562-7C99DE1B63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39643" y="199574"/>
            <a:ext cx="1050754" cy="679789"/>
          </a:xfrm>
          <a:prstGeom prst="rect">
            <a:avLst/>
          </a:prstGeom>
        </p:spPr>
      </p:pic>
      <p:grpSp>
        <p:nvGrpSpPr>
          <p:cNvPr id="29" name="Groep 28">
            <a:extLst>
              <a:ext uri="{FF2B5EF4-FFF2-40B4-BE49-F238E27FC236}">
                <a16:creationId xmlns:a16="http://schemas.microsoft.com/office/drawing/2014/main" id="{5A9585B8-ECA1-741D-C7D9-1A2A3D631BDF}"/>
              </a:ext>
            </a:extLst>
          </p:cNvPr>
          <p:cNvGrpSpPr/>
          <p:nvPr/>
        </p:nvGrpSpPr>
        <p:grpSpPr>
          <a:xfrm>
            <a:off x="2970634" y="1512086"/>
            <a:ext cx="5933233" cy="3377053"/>
            <a:chOff x="3359696" y="1829199"/>
            <a:chExt cx="6050666" cy="3443893"/>
          </a:xfrm>
        </p:grpSpPr>
        <p:sp>
          <p:nvSpPr>
            <p:cNvPr id="11" name="Rectangle 71">
              <a:extLst>
                <a:ext uri="{FF2B5EF4-FFF2-40B4-BE49-F238E27FC236}">
                  <a16:creationId xmlns:a16="http://schemas.microsoft.com/office/drawing/2014/main" id="{800BD88B-8875-13E4-248B-57270A5F8C5B}"/>
                </a:ext>
              </a:extLst>
            </p:cNvPr>
            <p:cNvSpPr/>
            <p:nvPr/>
          </p:nvSpPr>
          <p:spPr>
            <a:xfrm>
              <a:off x="4295468" y="3150791"/>
              <a:ext cx="1600237" cy="1935016"/>
            </a:xfrm>
            <a:prstGeom prst="rect">
              <a:avLst/>
            </a:prstGeom>
            <a:noFill/>
            <a:ln w="38100" cap="rnd" cmpd="sng" algn="ctr">
              <a:solidFill>
                <a:srgbClr val="7030A0"/>
              </a:solidFill>
              <a:prstDash val="sysDash"/>
              <a:round/>
            </a:ln>
            <a:effectLst>
              <a:outerShdw blurRad="508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t"/>
            <a:lstStyle/>
            <a:p>
              <a:pPr algn="ctr" defTabSz="816400"/>
              <a:endParaRPr lang="nl-NL" sz="945" kern="0"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2" name="Rectangle 71">
              <a:extLst>
                <a:ext uri="{FF2B5EF4-FFF2-40B4-BE49-F238E27FC236}">
                  <a16:creationId xmlns:a16="http://schemas.microsoft.com/office/drawing/2014/main" id="{6D83875C-3B30-C6CE-A9BC-3625C7087006}"/>
                </a:ext>
              </a:extLst>
            </p:cNvPr>
            <p:cNvSpPr/>
            <p:nvPr/>
          </p:nvSpPr>
          <p:spPr>
            <a:xfrm>
              <a:off x="5808616" y="1829199"/>
              <a:ext cx="2934790" cy="1321592"/>
            </a:xfrm>
            <a:prstGeom prst="rect">
              <a:avLst/>
            </a:prstGeom>
            <a:noFill/>
            <a:ln w="38100" cap="rnd" cmpd="sng" algn="ctr">
              <a:solidFill>
                <a:srgbClr val="00B050"/>
              </a:solidFill>
              <a:prstDash val="sysDash"/>
              <a:round/>
            </a:ln>
            <a:effectLst>
              <a:outerShdw blurRad="508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t"/>
            <a:lstStyle/>
            <a:p>
              <a:pPr algn="ctr" defTabSz="816400"/>
              <a:endParaRPr lang="nl-NL" sz="945" kern="0"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grpSp>
          <p:nvGrpSpPr>
            <p:cNvPr id="17" name="Groep 16">
              <a:extLst>
                <a:ext uri="{FF2B5EF4-FFF2-40B4-BE49-F238E27FC236}">
                  <a16:creationId xmlns:a16="http://schemas.microsoft.com/office/drawing/2014/main" id="{67B90023-58F9-0C6E-74B0-389C0D9C25CF}"/>
                </a:ext>
              </a:extLst>
            </p:cNvPr>
            <p:cNvGrpSpPr/>
            <p:nvPr/>
          </p:nvGrpSpPr>
          <p:grpSpPr>
            <a:xfrm>
              <a:off x="3359696" y="2269751"/>
              <a:ext cx="2330847" cy="1395076"/>
              <a:chOff x="3359696" y="2269751"/>
              <a:chExt cx="2330847" cy="1395076"/>
            </a:xfrm>
          </p:grpSpPr>
          <p:cxnSp>
            <p:nvCxnSpPr>
              <p:cNvPr id="3" name="Rechte verbindingslijn met pijl 2">
                <a:extLst>
                  <a:ext uri="{FF2B5EF4-FFF2-40B4-BE49-F238E27FC236}">
                    <a16:creationId xmlns:a16="http://schemas.microsoft.com/office/drawing/2014/main" id="{A29FFFA0-2FA0-0494-200D-CD091CB1E36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59696" y="2708920"/>
                <a:ext cx="788922" cy="955907"/>
              </a:xfrm>
              <a:prstGeom prst="straightConnector1">
                <a:avLst/>
              </a:prstGeom>
              <a:ln w="15875" cap="rnd">
                <a:solidFill>
                  <a:srgbClr val="7030A0"/>
                </a:solidFill>
                <a:round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Rechte verbindingslijn met pijl 13">
                <a:extLst>
                  <a:ext uri="{FF2B5EF4-FFF2-40B4-BE49-F238E27FC236}">
                    <a16:creationId xmlns:a16="http://schemas.microsoft.com/office/drawing/2014/main" id="{3E0863DA-5B3A-FC2A-22BF-D02B4F45F26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359696" y="2269751"/>
                <a:ext cx="2330847" cy="295153"/>
              </a:xfrm>
              <a:prstGeom prst="straightConnector1">
                <a:avLst/>
              </a:prstGeom>
              <a:ln w="15875" cap="rnd">
                <a:solidFill>
                  <a:srgbClr val="00B050"/>
                </a:solidFill>
                <a:round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" name="Rechthoek 25">
              <a:extLst>
                <a:ext uri="{FF2B5EF4-FFF2-40B4-BE49-F238E27FC236}">
                  <a16:creationId xmlns:a16="http://schemas.microsoft.com/office/drawing/2014/main" id="{D55939AF-6953-B0AB-F27D-403DD31B759E}"/>
                </a:ext>
              </a:extLst>
            </p:cNvPr>
            <p:cNvSpPr/>
            <p:nvPr/>
          </p:nvSpPr>
          <p:spPr>
            <a:xfrm>
              <a:off x="4442318" y="4913052"/>
              <a:ext cx="1296793" cy="360040"/>
            </a:xfrm>
            <a:prstGeom prst="rect">
              <a:avLst/>
            </a:prstGeom>
            <a:solidFill>
              <a:srgbClr val="7030A0"/>
            </a:solidFill>
            <a:ln w="15875" cap="rnd">
              <a:noFill/>
              <a:round/>
              <a:tailEnd type="none"/>
            </a:ln>
            <a:effectLst>
              <a:outerShdw blurRad="508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accent3"/>
                </a:buClr>
              </a:pPr>
              <a:r>
                <a:rPr lang="nl-NL" sz="1039" cap="all">
                  <a:solidFill>
                    <a:schemeClr val="bg1"/>
                  </a:solidFill>
                  <a:latin typeface="Montserrat" panose="00000500000000000000" pitchFamily="2" charset="0"/>
                  <a:ea typeface="Open Sans" panose="020B0606030504020204" pitchFamily="34" charset="0"/>
                  <a:cs typeface="Open Sans" panose="020B0606030504020204" pitchFamily="34" charset="0"/>
                </a:rPr>
                <a:t>klantselectie</a:t>
              </a:r>
            </a:p>
          </p:txBody>
        </p:sp>
        <p:sp>
          <p:nvSpPr>
            <p:cNvPr id="27" name="Rechthoek 26">
              <a:extLst>
                <a:ext uri="{FF2B5EF4-FFF2-40B4-BE49-F238E27FC236}">
                  <a16:creationId xmlns:a16="http://schemas.microsoft.com/office/drawing/2014/main" id="{B844BB7A-FAAF-A2C4-0008-CE5C7E7D562D}"/>
                </a:ext>
              </a:extLst>
            </p:cNvPr>
            <p:cNvSpPr/>
            <p:nvPr/>
          </p:nvSpPr>
          <p:spPr>
            <a:xfrm>
              <a:off x="8113570" y="2196325"/>
              <a:ext cx="1296792" cy="360040"/>
            </a:xfrm>
            <a:prstGeom prst="rect">
              <a:avLst/>
            </a:prstGeom>
            <a:solidFill>
              <a:srgbClr val="00B050"/>
            </a:solidFill>
            <a:ln w="15875" cap="rnd">
              <a:noFill/>
              <a:round/>
              <a:tailEnd type="none"/>
            </a:ln>
            <a:effectLst>
              <a:outerShdw blurRad="508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accent3"/>
                </a:buClr>
              </a:pPr>
              <a:r>
                <a:rPr lang="nl-NL" sz="1039" cap="all">
                  <a:solidFill>
                    <a:schemeClr val="bg1"/>
                  </a:solidFill>
                  <a:latin typeface="Montserrat" panose="00000500000000000000" pitchFamily="2" charset="0"/>
                  <a:ea typeface="Open Sans" panose="020B0606030504020204" pitchFamily="34" charset="0"/>
                  <a:cs typeface="Open Sans" panose="020B0606030504020204" pitchFamily="34" charset="0"/>
                </a:rPr>
                <a:t>woning</a:t>
              </a:r>
            </a:p>
          </p:txBody>
        </p:sp>
      </p:grpSp>
      <p:sp>
        <p:nvSpPr>
          <p:cNvPr id="28" name="Rechthoek 27">
            <a:extLst>
              <a:ext uri="{FF2B5EF4-FFF2-40B4-BE49-F238E27FC236}">
                <a16:creationId xmlns:a16="http://schemas.microsoft.com/office/drawing/2014/main" id="{12FA6933-AFED-ABB8-4FA9-93E6794C9B25}"/>
              </a:ext>
            </a:extLst>
          </p:cNvPr>
          <p:cNvSpPr/>
          <p:nvPr/>
        </p:nvSpPr>
        <p:spPr>
          <a:xfrm>
            <a:off x="3600244" y="1152087"/>
            <a:ext cx="900045" cy="349726"/>
          </a:xfrm>
          <a:prstGeom prst="rect">
            <a:avLst/>
          </a:prstGeom>
          <a:solidFill>
            <a:schemeClr val="bg1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3"/>
              </a:buClr>
            </a:pPr>
            <a:endParaRPr lang="nl-NL" sz="850" err="1"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5644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 4">
            <a:extLst>
              <a:ext uri="{FF2B5EF4-FFF2-40B4-BE49-F238E27FC236}">
                <a16:creationId xmlns:a16="http://schemas.microsoft.com/office/drawing/2014/main" id="{5BCACBA8-E4DE-8E9B-25FA-793F2D14989F}"/>
              </a:ext>
            </a:extLst>
          </p:cNvPr>
          <p:cNvSpPr/>
          <p:nvPr/>
        </p:nvSpPr>
        <p:spPr>
          <a:xfrm>
            <a:off x="0" y="1443567"/>
            <a:ext cx="3437105" cy="3922457"/>
          </a:xfrm>
          <a:prstGeom prst="rect">
            <a:avLst/>
          </a:prstGeom>
          <a:solidFill>
            <a:schemeClr val="bg1"/>
          </a:solidFill>
          <a:ln w="9525" cap="rnd">
            <a:solidFill>
              <a:schemeClr val="bg1">
                <a:lumMod val="75000"/>
              </a:schemeClr>
            </a:solidFill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3"/>
              </a:buClr>
            </a:pPr>
            <a:endParaRPr lang="nl-NL" sz="900" err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" name="Tekstvak 32">
            <a:extLst>
              <a:ext uri="{FF2B5EF4-FFF2-40B4-BE49-F238E27FC236}">
                <a16:creationId xmlns:a16="http://schemas.microsoft.com/office/drawing/2014/main" id="{D4BD7763-BC80-9F9C-5312-D1C657E3479C}"/>
              </a:ext>
            </a:extLst>
          </p:cNvPr>
          <p:cNvSpPr txBox="1"/>
          <p:nvPr/>
        </p:nvSpPr>
        <p:spPr>
          <a:xfrm>
            <a:off x="0" y="5589417"/>
            <a:ext cx="10970848" cy="383182"/>
          </a:xfrm>
          <a:prstGeom prst="rect">
            <a:avLst/>
          </a:prstGeom>
          <a:solidFill>
            <a:srgbClr val="00B753"/>
          </a:solidFill>
        </p:spPr>
        <p:txBody>
          <a:bodyPr wrap="square">
            <a:spAutoFit/>
          </a:bodyPr>
          <a:lstStyle/>
          <a:p>
            <a:pPr algn="ctr"/>
            <a:r>
              <a:rPr lang="nl-NL" sz="1890" i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‘Wij helpen nieuwe Nederlanders aan passende woonruimte en financieren een sociale omgeving’</a:t>
            </a:r>
          </a:p>
        </p:txBody>
      </p:sp>
      <p:sp>
        <p:nvSpPr>
          <p:cNvPr id="37" name="Rechthoek: afgeronde hoeken 36">
            <a:extLst>
              <a:ext uri="{FF2B5EF4-FFF2-40B4-BE49-F238E27FC236}">
                <a16:creationId xmlns:a16="http://schemas.microsoft.com/office/drawing/2014/main" id="{50047B14-E11C-D8B7-ADD8-9EA3368AA60E}"/>
              </a:ext>
            </a:extLst>
          </p:cNvPr>
          <p:cNvSpPr/>
          <p:nvPr/>
        </p:nvSpPr>
        <p:spPr>
          <a:xfrm>
            <a:off x="10077956" y="163991"/>
            <a:ext cx="894667" cy="534988"/>
          </a:xfrm>
          <a:prstGeom prst="roundRect">
            <a:avLst>
              <a:gd name="adj" fmla="val 123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07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8" name="Afbeelding 37">
            <a:extLst>
              <a:ext uri="{FF2B5EF4-FFF2-40B4-BE49-F238E27FC236}">
                <a16:creationId xmlns:a16="http://schemas.microsoft.com/office/drawing/2014/main" id="{0C14DB21-C0AD-F569-8681-CB3D3A7948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77956" y="217321"/>
            <a:ext cx="979311" cy="627912"/>
          </a:xfrm>
          <a:prstGeom prst="rect">
            <a:avLst/>
          </a:prstGeom>
        </p:spPr>
      </p:pic>
      <p:sp>
        <p:nvSpPr>
          <p:cNvPr id="39" name="Rechthoek: afgeronde hoeken 38">
            <a:extLst>
              <a:ext uri="{FF2B5EF4-FFF2-40B4-BE49-F238E27FC236}">
                <a16:creationId xmlns:a16="http://schemas.microsoft.com/office/drawing/2014/main" id="{02BA0961-A631-0F10-5A23-6A4130921D2B}"/>
              </a:ext>
            </a:extLst>
          </p:cNvPr>
          <p:cNvSpPr/>
          <p:nvPr/>
        </p:nvSpPr>
        <p:spPr>
          <a:xfrm>
            <a:off x="9264925" y="178429"/>
            <a:ext cx="894667" cy="534988"/>
          </a:xfrm>
          <a:prstGeom prst="roundRect">
            <a:avLst>
              <a:gd name="adj" fmla="val 123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07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40" name="Afbeelding 39">
            <a:extLst>
              <a:ext uri="{FF2B5EF4-FFF2-40B4-BE49-F238E27FC236}">
                <a16:creationId xmlns:a16="http://schemas.microsoft.com/office/drawing/2014/main" id="{ECA0BE47-644C-38CA-705C-3E2C56D2E6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39643" y="199574"/>
            <a:ext cx="1050754" cy="679789"/>
          </a:xfrm>
          <a:prstGeom prst="rect">
            <a:avLst/>
          </a:prstGeom>
        </p:spPr>
      </p:pic>
      <p:sp>
        <p:nvSpPr>
          <p:cNvPr id="11" name="Titel 10">
            <a:extLst>
              <a:ext uri="{FF2B5EF4-FFF2-40B4-BE49-F238E27FC236}">
                <a16:creationId xmlns:a16="http://schemas.microsoft.com/office/drawing/2014/main" id="{DF50F155-0D96-0E46-5902-491F7FA488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799" y="360000"/>
            <a:ext cx="8640445" cy="432000"/>
          </a:xfrm>
        </p:spPr>
        <p:txBody>
          <a:bodyPr/>
          <a:lstStyle/>
          <a:p>
            <a:r>
              <a:rPr lang="nl-NL" sz="2800"/>
              <a:t>Besturing SWO Nederland vanuit de </a:t>
            </a:r>
            <a:r>
              <a:rPr lang="nl-NL" sz="2800" err="1"/>
              <a:t>Strategymap</a:t>
            </a:r>
            <a:br>
              <a:rPr lang="nl-NL" sz="2800"/>
            </a:br>
            <a:endParaRPr lang="nl-NL" sz="2800"/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89E19981-1594-F62E-EE39-69A5ADA08147}"/>
              </a:ext>
            </a:extLst>
          </p:cNvPr>
          <p:cNvGrpSpPr/>
          <p:nvPr/>
        </p:nvGrpSpPr>
        <p:grpSpPr>
          <a:xfrm>
            <a:off x="3439844" y="1443567"/>
            <a:ext cx="7531004" cy="3922457"/>
            <a:chOff x="3439844" y="1443568"/>
            <a:chExt cx="7531004" cy="3922457"/>
          </a:xfrm>
        </p:grpSpPr>
        <p:pic>
          <p:nvPicPr>
            <p:cNvPr id="47" name="Afbeelding 46">
              <a:extLst>
                <a:ext uri="{FF2B5EF4-FFF2-40B4-BE49-F238E27FC236}">
                  <a16:creationId xmlns:a16="http://schemas.microsoft.com/office/drawing/2014/main" id="{1BF97271-4317-676F-DF05-14C1F11ADE7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023046" y="1443568"/>
              <a:ext cx="6947802" cy="3922457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48" name="Pijl: rechts 47">
              <a:extLst>
                <a:ext uri="{FF2B5EF4-FFF2-40B4-BE49-F238E27FC236}">
                  <a16:creationId xmlns:a16="http://schemas.microsoft.com/office/drawing/2014/main" id="{6C629DB9-983A-1721-3579-F1DF7A7680BF}"/>
                </a:ext>
              </a:extLst>
            </p:cNvPr>
            <p:cNvSpPr/>
            <p:nvPr/>
          </p:nvSpPr>
          <p:spPr>
            <a:xfrm>
              <a:off x="3439844" y="1506297"/>
              <a:ext cx="491067" cy="513820"/>
            </a:xfrm>
            <a:prstGeom prst="rightArrow">
              <a:avLst/>
            </a:prstGeom>
            <a:solidFill>
              <a:srgbClr val="016837"/>
            </a:solidFill>
            <a:ln w="15875" cap="rnd">
              <a:noFill/>
              <a:round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accent3"/>
                </a:buClr>
              </a:pPr>
              <a:endParaRPr lang="nl-NL" sz="90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pic>
        <p:nvPicPr>
          <p:cNvPr id="7" name="Afbeelding 6">
            <a:extLst>
              <a:ext uri="{FF2B5EF4-FFF2-40B4-BE49-F238E27FC236}">
                <a16:creationId xmlns:a16="http://schemas.microsoft.com/office/drawing/2014/main" id="{26ED89AA-4966-0BE5-4B57-A01C797C922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8573"/>
          <a:stretch/>
        </p:blipFill>
        <p:spPr>
          <a:xfrm>
            <a:off x="244" y="1539266"/>
            <a:ext cx="3404573" cy="3818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846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B0B942D9-285E-A8F4-EB9F-806BFCA712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1520000" cy="6480175"/>
          </a:xfrm>
          <a:prstGeom prst="rect">
            <a:avLst/>
          </a:prstGeom>
        </p:spPr>
      </p:pic>
      <p:sp>
        <p:nvSpPr>
          <p:cNvPr id="9" name="Tekstballon: rechthoek met afgeronde hoeken 4">
            <a:extLst>
              <a:ext uri="{FF2B5EF4-FFF2-40B4-BE49-F238E27FC236}">
                <a16:creationId xmlns:a16="http://schemas.microsoft.com/office/drawing/2014/main" id="{89F184B8-48E9-31A2-317E-E6A3F3E1C6E7}"/>
              </a:ext>
            </a:extLst>
          </p:cNvPr>
          <p:cNvSpPr/>
          <p:nvPr/>
        </p:nvSpPr>
        <p:spPr>
          <a:xfrm>
            <a:off x="4392244" y="4752087"/>
            <a:ext cx="2592000" cy="1296000"/>
          </a:xfrm>
          <a:prstGeom prst="wedgeRoundRectCallout">
            <a:avLst>
              <a:gd name="adj1" fmla="val -63283"/>
              <a:gd name="adj2" fmla="val -33322"/>
              <a:gd name="adj3" fmla="val 16667"/>
            </a:avLst>
          </a:prstGeom>
          <a:solidFill>
            <a:schemeClr val="bg1"/>
          </a:solidFill>
          <a:ln w="28575" cap="rnd">
            <a:solidFill>
              <a:schemeClr val="accent2"/>
            </a:solidFill>
            <a:round/>
            <a:tailEnd type="none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3"/>
              </a:buClr>
            </a:pPr>
            <a:r>
              <a:rPr lang="nl-NL"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rect inzicht in de provincie die de grootste negatieve impact heeft!</a:t>
            </a:r>
          </a:p>
        </p:txBody>
      </p:sp>
      <p:sp>
        <p:nvSpPr>
          <p:cNvPr id="10" name="Tekstballon: rechthoek met afgeronde hoeken 4">
            <a:extLst>
              <a:ext uri="{FF2B5EF4-FFF2-40B4-BE49-F238E27FC236}">
                <a16:creationId xmlns:a16="http://schemas.microsoft.com/office/drawing/2014/main" id="{00954E51-58F3-6F6E-81A6-49D36193F6B6}"/>
              </a:ext>
            </a:extLst>
          </p:cNvPr>
          <p:cNvSpPr/>
          <p:nvPr/>
        </p:nvSpPr>
        <p:spPr>
          <a:xfrm>
            <a:off x="3888244" y="1728087"/>
            <a:ext cx="2592000" cy="1296000"/>
          </a:xfrm>
          <a:prstGeom prst="wedgeRoundRectCallout">
            <a:avLst>
              <a:gd name="adj1" fmla="val -63283"/>
              <a:gd name="adj2" fmla="val -33322"/>
              <a:gd name="adj3" fmla="val 16667"/>
            </a:avLst>
          </a:prstGeom>
          <a:solidFill>
            <a:schemeClr val="bg1"/>
          </a:solidFill>
          <a:ln w="28575" cap="rnd">
            <a:solidFill>
              <a:schemeClr val="accent2"/>
            </a:solidFill>
            <a:round/>
            <a:tailEnd type="none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3"/>
              </a:buClr>
            </a:pPr>
            <a:r>
              <a:rPr lang="nl-NL"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 ROE gaat niet goed, en blijft achter, hoe komt dat? </a:t>
            </a:r>
          </a:p>
        </p:txBody>
      </p:sp>
    </p:spTree>
    <p:extLst>
      <p:ext uri="{BB962C8B-B14F-4D97-AF65-F5344CB8AC3E}">
        <p14:creationId xmlns:p14="http://schemas.microsoft.com/office/powerpoint/2010/main" val="1608035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06250667-3A23-86AD-2425-03BF702A9A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1520488" cy="6480000"/>
          </a:xfrm>
          <a:prstGeom prst="rect">
            <a:avLst/>
          </a:prstGeom>
        </p:spPr>
      </p:pic>
      <p:sp>
        <p:nvSpPr>
          <p:cNvPr id="9" name="Tekstballon: rechthoek met afgeronde hoeken 4">
            <a:extLst>
              <a:ext uri="{FF2B5EF4-FFF2-40B4-BE49-F238E27FC236}">
                <a16:creationId xmlns:a16="http://schemas.microsoft.com/office/drawing/2014/main" id="{1F93B9BC-1B81-F31C-7DC8-74E7E087BDFD}"/>
              </a:ext>
            </a:extLst>
          </p:cNvPr>
          <p:cNvSpPr/>
          <p:nvPr/>
        </p:nvSpPr>
        <p:spPr>
          <a:xfrm>
            <a:off x="6912244" y="4752087"/>
            <a:ext cx="2592000" cy="1296000"/>
          </a:xfrm>
          <a:prstGeom prst="wedgeRoundRectCallout">
            <a:avLst>
              <a:gd name="adj1" fmla="val -63283"/>
              <a:gd name="adj2" fmla="val -33322"/>
              <a:gd name="adj3" fmla="val 16667"/>
            </a:avLst>
          </a:prstGeom>
          <a:solidFill>
            <a:schemeClr val="bg1"/>
          </a:solidFill>
          <a:ln w="28575" cap="rnd">
            <a:solidFill>
              <a:schemeClr val="accent2"/>
            </a:solidFill>
            <a:round/>
            <a:tailEnd type="none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3"/>
              </a:buClr>
            </a:pPr>
            <a:r>
              <a:rPr lang="nl-NL"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et project Dijkzicht in Haarlem draagt het meest negatief bij!</a:t>
            </a:r>
          </a:p>
        </p:txBody>
      </p:sp>
      <p:sp>
        <p:nvSpPr>
          <p:cNvPr id="10" name="Tekstballon: rechthoek met afgeronde hoeken 4">
            <a:extLst>
              <a:ext uri="{FF2B5EF4-FFF2-40B4-BE49-F238E27FC236}">
                <a16:creationId xmlns:a16="http://schemas.microsoft.com/office/drawing/2014/main" id="{29F64C32-8E44-F83E-EBB3-42A2994CDD3A}"/>
              </a:ext>
            </a:extLst>
          </p:cNvPr>
          <p:cNvSpPr/>
          <p:nvPr/>
        </p:nvSpPr>
        <p:spPr>
          <a:xfrm>
            <a:off x="1584244" y="864087"/>
            <a:ext cx="2592000" cy="1296000"/>
          </a:xfrm>
          <a:prstGeom prst="wedgeRoundRectCallout">
            <a:avLst>
              <a:gd name="adj1" fmla="val 33731"/>
              <a:gd name="adj2" fmla="val -69188"/>
              <a:gd name="adj3" fmla="val 16667"/>
            </a:avLst>
          </a:prstGeom>
          <a:solidFill>
            <a:schemeClr val="bg1"/>
          </a:solidFill>
          <a:ln w="28575" cap="rnd">
            <a:solidFill>
              <a:schemeClr val="accent2"/>
            </a:solidFill>
            <a:round/>
            <a:tailEnd type="none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3"/>
              </a:buClr>
            </a:pPr>
            <a:r>
              <a:rPr lang="nl-NL"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at is er in Noord-Holland aan de hand, is er een structureel probleem? </a:t>
            </a:r>
          </a:p>
        </p:txBody>
      </p:sp>
    </p:spTree>
    <p:extLst>
      <p:ext uri="{BB962C8B-B14F-4D97-AF65-F5344CB8AC3E}">
        <p14:creationId xmlns:p14="http://schemas.microsoft.com/office/powerpoint/2010/main" val="2371618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C81D0527-2D1E-5B49-56DC-C7AFE6C796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09"/>
            <a:ext cx="11520488" cy="6480000"/>
          </a:xfrm>
          <a:prstGeom prst="rect">
            <a:avLst/>
          </a:prstGeom>
        </p:spPr>
      </p:pic>
      <p:sp>
        <p:nvSpPr>
          <p:cNvPr id="7" name="Tekstballon: rechthoek met afgeronde hoeken 4">
            <a:extLst>
              <a:ext uri="{FF2B5EF4-FFF2-40B4-BE49-F238E27FC236}">
                <a16:creationId xmlns:a16="http://schemas.microsoft.com/office/drawing/2014/main" id="{28DD6129-4997-62D8-4842-690862F04CD7}"/>
              </a:ext>
            </a:extLst>
          </p:cNvPr>
          <p:cNvSpPr/>
          <p:nvPr/>
        </p:nvSpPr>
        <p:spPr>
          <a:xfrm>
            <a:off x="7632244" y="4896087"/>
            <a:ext cx="2592000" cy="1296000"/>
          </a:xfrm>
          <a:prstGeom prst="wedgeRoundRectCallout">
            <a:avLst>
              <a:gd name="adj1" fmla="val -64459"/>
              <a:gd name="adj2" fmla="val -50961"/>
              <a:gd name="adj3" fmla="val 16667"/>
            </a:avLst>
          </a:prstGeom>
          <a:solidFill>
            <a:schemeClr val="bg1"/>
          </a:solidFill>
          <a:ln w="28575" cap="rnd">
            <a:solidFill>
              <a:schemeClr val="accent2"/>
            </a:solidFill>
            <a:round/>
            <a:tailEnd type="none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3"/>
              </a:buClr>
            </a:pPr>
            <a:r>
              <a:rPr lang="nl-NL"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el onderdelen zijn vervangen binnen 5 jaar, met grote impact op circulariteit!</a:t>
            </a:r>
          </a:p>
        </p:txBody>
      </p:sp>
      <p:sp>
        <p:nvSpPr>
          <p:cNvPr id="12" name="Tekstballon: rechthoek met afgeronde hoeken 4">
            <a:extLst>
              <a:ext uri="{FF2B5EF4-FFF2-40B4-BE49-F238E27FC236}">
                <a16:creationId xmlns:a16="http://schemas.microsoft.com/office/drawing/2014/main" id="{D1992FED-4183-F2D7-A5A8-AC37CB13A2C3}"/>
              </a:ext>
            </a:extLst>
          </p:cNvPr>
          <p:cNvSpPr/>
          <p:nvPr/>
        </p:nvSpPr>
        <p:spPr>
          <a:xfrm>
            <a:off x="4752244" y="2952087"/>
            <a:ext cx="2592000" cy="1296000"/>
          </a:xfrm>
          <a:prstGeom prst="wedgeRoundRectCallout">
            <a:avLst>
              <a:gd name="adj1" fmla="val -69163"/>
              <a:gd name="adj2" fmla="val 56048"/>
              <a:gd name="adj3" fmla="val 16667"/>
            </a:avLst>
          </a:prstGeom>
          <a:solidFill>
            <a:schemeClr val="bg1"/>
          </a:solidFill>
          <a:ln w="28575" cap="rnd">
            <a:solidFill>
              <a:schemeClr val="accent2"/>
            </a:solidFill>
            <a:round/>
            <a:tailEnd type="none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3"/>
              </a:buClr>
            </a:pPr>
            <a:r>
              <a:rPr lang="nl-NL"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et lijkt erop dat de keukens bij Dijkzicht Haarlem niet goed zijn!</a:t>
            </a:r>
          </a:p>
        </p:txBody>
      </p:sp>
    </p:spTree>
    <p:extLst>
      <p:ext uri="{BB962C8B-B14F-4D97-AF65-F5344CB8AC3E}">
        <p14:creationId xmlns:p14="http://schemas.microsoft.com/office/powerpoint/2010/main" val="3114731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2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E88C7F91-D990-954C-1247-0228AA4BDE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" y="87"/>
            <a:ext cx="11520000" cy="6480175"/>
          </a:xfrm>
          <a:prstGeom prst="rect">
            <a:avLst/>
          </a:prstGeom>
        </p:spPr>
      </p:pic>
      <p:sp>
        <p:nvSpPr>
          <p:cNvPr id="6" name="Tekstballon: rechthoek met afgeronde hoeken 4">
            <a:extLst>
              <a:ext uri="{FF2B5EF4-FFF2-40B4-BE49-F238E27FC236}">
                <a16:creationId xmlns:a16="http://schemas.microsoft.com/office/drawing/2014/main" id="{4D961917-F500-18C6-6563-B3647BA19FC6}"/>
              </a:ext>
            </a:extLst>
          </p:cNvPr>
          <p:cNvSpPr/>
          <p:nvPr/>
        </p:nvSpPr>
        <p:spPr>
          <a:xfrm>
            <a:off x="6408244" y="4608087"/>
            <a:ext cx="2592000" cy="1296000"/>
          </a:xfrm>
          <a:prstGeom prst="wedgeRoundRectCallout">
            <a:avLst>
              <a:gd name="adj1" fmla="val -63283"/>
              <a:gd name="adj2" fmla="val -33322"/>
              <a:gd name="adj3" fmla="val 16667"/>
            </a:avLst>
          </a:prstGeom>
          <a:solidFill>
            <a:schemeClr val="bg1"/>
          </a:solidFill>
          <a:ln w="28575" cap="rnd">
            <a:solidFill>
              <a:schemeClr val="accent2"/>
            </a:solidFill>
            <a:round/>
            <a:tailEnd type="none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3"/>
              </a:buClr>
            </a:pPr>
            <a:r>
              <a:rPr lang="nl-NL"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oorheen was er geen issue met deze leverancier, wat is er aan de hand?</a:t>
            </a:r>
          </a:p>
        </p:txBody>
      </p:sp>
    </p:spTree>
    <p:extLst>
      <p:ext uri="{BB962C8B-B14F-4D97-AF65-F5344CB8AC3E}">
        <p14:creationId xmlns:p14="http://schemas.microsoft.com/office/powerpoint/2010/main" val="356349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 rot="19181231">
            <a:off x="6865682" y="-1349824"/>
            <a:ext cx="5764418" cy="7165536"/>
          </a:xfrm>
          <a:custGeom>
            <a:avLst/>
            <a:gdLst/>
            <a:ahLst/>
            <a:cxnLst/>
            <a:rect l="l" t="t" r="r" b="b"/>
            <a:pathLst>
              <a:path w="9150766" h="11374981">
                <a:moveTo>
                  <a:pt x="0" y="0"/>
                </a:moveTo>
                <a:lnTo>
                  <a:pt x="9150766" y="0"/>
                </a:lnTo>
                <a:lnTo>
                  <a:pt x="9150766" y="11374981"/>
                </a:lnTo>
                <a:lnTo>
                  <a:pt x="0" y="11374981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99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598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397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196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3995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2794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593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0392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NL" sz="714"/>
          </a:p>
        </p:txBody>
      </p:sp>
      <p:sp>
        <p:nvSpPr>
          <p:cNvPr id="4" name="TextBox 4"/>
          <p:cNvSpPr txBox="1"/>
          <p:nvPr/>
        </p:nvSpPr>
        <p:spPr>
          <a:xfrm>
            <a:off x="2469661" y="782152"/>
            <a:ext cx="4192176" cy="81357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99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598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397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196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3995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2794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593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0392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6954"/>
              </a:lnSpc>
            </a:pPr>
            <a:r>
              <a:rPr lang="en-US" sz="5039" spc="494">
                <a:solidFill>
                  <a:srgbClr val="35744F"/>
                </a:solidFill>
                <a:latin typeface="Arial Bold"/>
                <a:cs typeface="Arial Bold"/>
              </a:rPr>
              <a:t>Programma</a:t>
            </a:r>
          </a:p>
        </p:txBody>
      </p:sp>
      <p:sp>
        <p:nvSpPr>
          <p:cNvPr id="5" name="TextBox 5"/>
          <p:cNvSpPr txBox="1"/>
          <p:nvPr/>
        </p:nvSpPr>
        <p:spPr>
          <a:xfrm>
            <a:off x="2469660" y="1929401"/>
            <a:ext cx="6564102" cy="3035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99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598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397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196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3995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2794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593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0392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608"/>
              </a:lnSpc>
            </a:pPr>
            <a:r>
              <a:rPr lang="en-US" sz="1890" spc="185">
                <a:solidFill>
                  <a:srgbClr val="35744F"/>
                </a:solidFill>
                <a:latin typeface="Arial"/>
                <a:cs typeface="Arial"/>
              </a:rPr>
              <a:t>Welkom </a:t>
            </a:r>
            <a:r>
              <a:rPr lang="en-US" sz="1890" spc="185" err="1">
                <a:solidFill>
                  <a:srgbClr val="35744F"/>
                </a:solidFill>
                <a:latin typeface="Arial"/>
                <a:cs typeface="Arial"/>
              </a:rPr>
              <a:t>en</a:t>
            </a:r>
            <a:r>
              <a:rPr lang="en-US" sz="1890" spc="185">
                <a:solidFill>
                  <a:srgbClr val="35744F"/>
                </a:solidFill>
                <a:latin typeface="Arial"/>
                <a:cs typeface="Arial"/>
              </a:rPr>
              <a:t> </a:t>
            </a:r>
            <a:r>
              <a:rPr lang="en-US" sz="1890" spc="185" err="1">
                <a:solidFill>
                  <a:srgbClr val="35744F"/>
                </a:solidFill>
                <a:latin typeface="Arial"/>
                <a:cs typeface="Arial"/>
              </a:rPr>
              <a:t>introductie</a:t>
            </a:r>
            <a:r>
              <a:rPr lang="en-US" sz="1890" spc="185">
                <a:solidFill>
                  <a:srgbClr val="35744F"/>
                </a:solidFill>
                <a:latin typeface="Arial"/>
                <a:cs typeface="Arial"/>
              </a:rPr>
              <a:t> op het </a:t>
            </a:r>
            <a:r>
              <a:rPr lang="en-US" sz="1890" spc="185" err="1">
                <a:solidFill>
                  <a:srgbClr val="35744F"/>
                </a:solidFill>
                <a:latin typeface="Arial"/>
                <a:cs typeface="Arial"/>
              </a:rPr>
              <a:t>programma</a:t>
            </a:r>
            <a:endParaRPr lang="en-US" sz="1890" spc="185" err="1">
              <a:solidFill>
                <a:srgbClr val="35744F"/>
              </a:solidFill>
              <a:latin typeface="Arial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2469661" y="2429708"/>
            <a:ext cx="8278930" cy="3035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99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598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397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196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3995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2794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593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0392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608"/>
              </a:lnSpc>
            </a:pPr>
            <a:r>
              <a:rPr lang="en-US" sz="1850" spc="185" dirty="0">
                <a:solidFill>
                  <a:srgbClr val="35744F"/>
                </a:solidFill>
                <a:latin typeface="Arial"/>
                <a:cs typeface="Arial"/>
              </a:rPr>
              <a:t>Korte </a:t>
            </a:r>
            <a:r>
              <a:rPr lang="en-US" sz="1850" spc="185" err="1">
                <a:solidFill>
                  <a:srgbClr val="35744F"/>
                </a:solidFill>
                <a:latin typeface="Arial"/>
                <a:cs typeface="Arial"/>
              </a:rPr>
              <a:t>introductie</a:t>
            </a:r>
            <a:r>
              <a:rPr lang="en-US" sz="1850" spc="185">
                <a:solidFill>
                  <a:srgbClr val="35744F"/>
                </a:solidFill>
                <a:latin typeface="Arial"/>
                <a:cs typeface="Arial"/>
              </a:rPr>
              <a:t> over de NCDD </a:t>
            </a:r>
            <a:endParaRPr lang="en-US" sz="1850" spc="185" dirty="0">
              <a:solidFill>
                <a:srgbClr val="35744F"/>
              </a:solidFill>
              <a:latin typeface="Arial"/>
              <a:cs typeface="Arial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1602817" y="1902421"/>
            <a:ext cx="590390" cy="4360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99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598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397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196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3995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2794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593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0392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401"/>
              </a:lnSpc>
            </a:pPr>
            <a:r>
              <a:rPr lang="en-US" sz="2835" spc="232">
                <a:solidFill>
                  <a:srgbClr val="35744F"/>
                </a:solidFill>
                <a:latin typeface="Arial Bold"/>
              </a:rPr>
              <a:t>01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1602817" y="2404557"/>
            <a:ext cx="590390" cy="4360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99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598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397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196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3995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2794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593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0392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401"/>
              </a:lnSpc>
            </a:pPr>
            <a:r>
              <a:rPr lang="en-US" sz="2835" spc="232">
                <a:solidFill>
                  <a:srgbClr val="35744F"/>
                </a:solidFill>
                <a:latin typeface="Arial Bold"/>
              </a:rPr>
              <a:t>02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1602817" y="2959632"/>
            <a:ext cx="590390" cy="4360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99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598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397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196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3995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2794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593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0392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401"/>
              </a:lnSpc>
            </a:pPr>
            <a:r>
              <a:rPr lang="en-US" sz="2835" spc="232">
                <a:solidFill>
                  <a:srgbClr val="35744F"/>
                </a:solidFill>
                <a:latin typeface="Arial Bold"/>
              </a:rPr>
              <a:t>03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1602817" y="3461767"/>
            <a:ext cx="590390" cy="4360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99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598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397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196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3995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2794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593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0392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401"/>
              </a:lnSpc>
            </a:pPr>
            <a:r>
              <a:rPr lang="en-US" sz="2835" spc="232">
                <a:solidFill>
                  <a:srgbClr val="35744F"/>
                </a:solidFill>
                <a:latin typeface="Arial Bold"/>
              </a:rPr>
              <a:t>04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1615164" y="3960916"/>
            <a:ext cx="590390" cy="4360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99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598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397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196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3995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2794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593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0392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401"/>
              </a:lnSpc>
            </a:pPr>
            <a:r>
              <a:rPr lang="en-US" sz="2835" spc="232">
                <a:solidFill>
                  <a:srgbClr val="35744F"/>
                </a:solidFill>
                <a:latin typeface="Arial Bold"/>
              </a:rPr>
              <a:t>05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2469661" y="2957337"/>
            <a:ext cx="8494504" cy="30405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99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598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397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196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3995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2794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593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0392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608"/>
              </a:lnSpc>
              <a:spcBef>
                <a:spcPct val="0"/>
              </a:spcBef>
            </a:pPr>
            <a:r>
              <a:rPr lang="en-US" sz="1850" spc="185" dirty="0">
                <a:solidFill>
                  <a:srgbClr val="35744F"/>
                </a:solidFill>
                <a:latin typeface="Arial"/>
                <a:cs typeface="Arial"/>
              </a:rPr>
              <a:t>Korte </a:t>
            </a:r>
            <a:r>
              <a:rPr lang="en-US" sz="1850" spc="185" dirty="0" err="1">
                <a:solidFill>
                  <a:srgbClr val="35744F"/>
                </a:solidFill>
                <a:latin typeface="Arial"/>
                <a:cs typeface="Arial"/>
              </a:rPr>
              <a:t>introductie</a:t>
            </a:r>
            <a:r>
              <a:rPr lang="en-US" sz="1850" spc="185" dirty="0">
                <a:solidFill>
                  <a:srgbClr val="35744F"/>
                </a:solidFill>
                <a:latin typeface="Arial"/>
                <a:cs typeface="Arial"/>
              </a:rPr>
              <a:t> over Conclusion </a:t>
            </a:r>
            <a:r>
              <a:rPr lang="en-US" sz="1850" spc="185" dirty="0" err="1">
                <a:solidFill>
                  <a:srgbClr val="35744F"/>
                </a:solidFill>
                <a:latin typeface="Arial"/>
                <a:cs typeface="Arial"/>
              </a:rPr>
              <a:t>en</a:t>
            </a:r>
            <a:r>
              <a:rPr lang="en-US" sz="1850" spc="185" dirty="0">
                <a:solidFill>
                  <a:srgbClr val="35744F"/>
                </a:solidFill>
                <a:latin typeface="Arial"/>
                <a:cs typeface="Arial"/>
              </a:rPr>
              <a:t> CSRD in </a:t>
            </a:r>
            <a:r>
              <a:rPr lang="en-US" sz="1850" spc="185" dirty="0" err="1">
                <a:solidFill>
                  <a:srgbClr val="35744F"/>
                </a:solidFill>
                <a:latin typeface="Arial"/>
                <a:cs typeface="Arial"/>
              </a:rPr>
              <a:t>Europese</a:t>
            </a:r>
            <a:r>
              <a:rPr lang="en-US" sz="1850" spc="185" dirty="0">
                <a:solidFill>
                  <a:srgbClr val="35744F"/>
                </a:solidFill>
                <a:latin typeface="Arial"/>
                <a:cs typeface="Arial"/>
              </a:rPr>
              <a:t> context</a:t>
            </a:r>
            <a:endParaRPr lang="en-US" sz="1890" spc="185" dirty="0">
              <a:solidFill>
                <a:srgbClr val="35744F"/>
              </a:solidFill>
              <a:latin typeface="Arial"/>
            </a:endParaRPr>
          </a:p>
        </p:txBody>
      </p:sp>
      <p:sp>
        <p:nvSpPr>
          <p:cNvPr id="15" name="TextBox 15"/>
          <p:cNvSpPr txBox="1"/>
          <p:nvPr/>
        </p:nvSpPr>
        <p:spPr>
          <a:xfrm>
            <a:off x="2469661" y="3490073"/>
            <a:ext cx="5642647" cy="3035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99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598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397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196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3995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2794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593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0392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608"/>
              </a:lnSpc>
              <a:spcBef>
                <a:spcPct val="0"/>
              </a:spcBef>
            </a:pPr>
            <a:r>
              <a:rPr lang="en-US" sz="1850" spc="185" dirty="0">
                <a:solidFill>
                  <a:srgbClr val="35744F"/>
                </a:solidFill>
                <a:latin typeface="Arial"/>
                <a:cs typeface="Arial"/>
              </a:rPr>
              <a:t>CSRD </a:t>
            </a:r>
            <a:r>
              <a:rPr lang="en-US" sz="1850" spc="185" dirty="0" err="1">
                <a:solidFill>
                  <a:srgbClr val="35744F"/>
                </a:solidFill>
                <a:latin typeface="Arial"/>
                <a:cs typeface="Arial"/>
              </a:rPr>
              <a:t>benaderd</a:t>
            </a:r>
            <a:r>
              <a:rPr lang="en-US" sz="1850" spc="185" dirty="0">
                <a:solidFill>
                  <a:srgbClr val="35744F"/>
                </a:solidFill>
                <a:latin typeface="Arial"/>
                <a:cs typeface="Arial"/>
              </a:rPr>
              <a:t> door 6 </a:t>
            </a:r>
            <a:r>
              <a:rPr lang="en-US" sz="1850" spc="185" dirty="0" err="1">
                <a:solidFill>
                  <a:srgbClr val="35744F"/>
                </a:solidFill>
                <a:latin typeface="Arial"/>
                <a:cs typeface="Arial"/>
              </a:rPr>
              <a:t>stappenplan</a:t>
            </a:r>
          </a:p>
        </p:txBody>
      </p:sp>
      <p:sp>
        <p:nvSpPr>
          <p:cNvPr id="16" name="TextBox 16"/>
          <p:cNvSpPr txBox="1"/>
          <p:nvPr/>
        </p:nvSpPr>
        <p:spPr>
          <a:xfrm>
            <a:off x="2469661" y="4043191"/>
            <a:ext cx="7562699" cy="3035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99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598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397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196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3995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2794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593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0392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608"/>
              </a:lnSpc>
              <a:spcBef>
                <a:spcPct val="0"/>
              </a:spcBef>
            </a:pPr>
            <a:r>
              <a:rPr lang="en-US" sz="1850" spc="185" dirty="0" err="1">
                <a:solidFill>
                  <a:srgbClr val="35744F"/>
                </a:solidFill>
                <a:latin typeface="Arial"/>
                <a:cs typeface="Arial"/>
              </a:rPr>
              <a:t>Ruimte</a:t>
            </a:r>
            <a:r>
              <a:rPr lang="en-US" sz="1850" spc="185" dirty="0">
                <a:solidFill>
                  <a:srgbClr val="35744F"/>
                </a:solidFill>
                <a:latin typeface="Arial"/>
                <a:cs typeface="Arial"/>
              </a:rPr>
              <a:t> </a:t>
            </a:r>
            <a:r>
              <a:rPr lang="en-US" sz="1850" spc="185" dirty="0" err="1">
                <a:solidFill>
                  <a:srgbClr val="35744F"/>
                </a:solidFill>
                <a:latin typeface="Arial"/>
                <a:cs typeface="Arial"/>
              </a:rPr>
              <a:t>voor</a:t>
            </a:r>
            <a:r>
              <a:rPr lang="en-US" sz="1850" spc="185" dirty="0">
                <a:solidFill>
                  <a:srgbClr val="35744F"/>
                </a:solidFill>
                <a:latin typeface="Arial"/>
                <a:cs typeface="Arial"/>
              </a:rPr>
              <a:t> </a:t>
            </a:r>
            <a:r>
              <a:rPr lang="en-US" sz="1850" spc="185" dirty="0" err="1">
                <a:solidFill>
                  <a:srgbClr val="35744F"/>
                </a:solidFill>
                <a:latin typeface="Arial"/>
                <a:cs typeface="Arial"/>
              </a:rPr>
              <a:t>vragen</a:t>
            </a: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9BF0FAC1-0140-1B23-4FFA-4FDABF8663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" y="87"/>
            <a:ext cx="11520000" cy="6480000"/>
          </a:xfrm>
          <a:prstGeom prst="rect">
            <a:avLst/>
          </a:prstGeom>
        </p:spPr>
      </p:pic>
      <p:sp>
        <p:nvSpPr>
          <p:cNvPr id="6" name="Tekstballon: rechthoek met afgeronde hoeken 4">
            <a:extLst>
              <a:ext uri="{FF2B5EF4-FFF2-40B4-BE49-F238E27FC236}">
                <a16:creationId xmlns:a16="http://schemas.microsoft.com/office/drawing/2014/main" id="{3768625A-B93D-0E0F-9B63-862586CF9ABA}"/>
              </a:ext>
            </a:extLst>
          </p:cNvPr>
          <p:cNvSpPr/>
          <p:nvPr/>
        </p:nvSpPr>
        <p:spPr>
          <a:xfrm>
            <a:off x="6840244" y="4464087"/>
            <a:ext cx="2592000" cy="1296000"/>
          </a:xfrm>
          <a:prstGeom prst="wedgeRoundRectCallout">
            <a:avLst>
              <a:gd name="adj1" fmla="val -64459"/>
              <a:gd name="adj2" fmla="val 33706"/>
              <a:gd name="adj3" fmla="val 16667"/>
            </a:avLst>
          </a:prstGeom>
          <a:solidFill>
            <a:schemeClr val="bg1"/>
          </a:solidFill>
          <a:ln w="28575" cap="rnd">
            <a:solidFill>
              <a:schemeClr val="accent2"/>
            </a:solidFill>
            <a:round/>
            <a:tailEnd type="none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3"/>
              </a:buClr>
            </a:pPr>
            <a:r>
              <a:rPr lang="nl-NL"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ze leveranciers heeft zeer grote negatieve impact, klantdialoog cruciaal!</a:t>
            </a:r>
          </a:p>
        </p:txBody>
      </p:sp>
    </p:spTree>
    <p:extLst>
      <p:ext uri="{BB962C8B-B14F-4D97-AF65-F5344CB8AC3E}">
        <p14:creationId xmlns:p14="http://schemas.microsoft.com/office/powerpoint/2010/main" val="2422937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id="{37F878DE-6970-8BE7-8AA5-74FB9DF25E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1520000" cy="6480175"/>
          </a:xfrm>
          <a:prstGeom prst="rect">
            <a:avLst/>
          </a:prstGeom>
        </p:spPr>
      </p:pic>
      <p:sp>
        <p:nvSpPr>
          <p:cNvPr id="5" name="Tekstballon: rechthoek met afgeronde hoeken 4">
            <a:extLst>
              <a:ext uri="{FF2B5EF4-FFF2-40B4-BE49-F238E27FC236}">
                <a16:creationId xmlns:a16="http://schemas.microsoft.com/office/drawing/2014/main" id="{680BB61C-2986-B19E-A08D-127B5FE2127D}"/>
              </a:ext>
            </a:extLst>
          </p:cNvPr>
          <p:cNvSpPr/>
          <p:nvPr/>
        </p:nvSpPr>
        <p:spPr>
          <a:xfrm>
            <a:off x="4176244" y="3024087"/>
            <a:ext cx="2592000" cy="1296000"/>
          </a:xfrm>
          <a:prstGeom prst="wedgeRoundRectCallout">
            <a:avLst>
              <a:gd name="adj1" fmla="val -68869"/>
              <a:gd name="adj2" fmla="val -32734"/>
              <a:gd name="adj3" fmla="val 16667"/>
            </a:avLst>
          </a:prstGeom>
          <a:solidFill>
            <a:schemeClr val="bg1"/>
          </a:solidFill>
          <a:ln w="28575" cap="rnd">
            <a:solidFill>
              <a:schemeClr val="accent2"/>
            </a:solidFill>
            <a:round/>
            <a:tailEnd type="none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3"/>
              </a:buClr>
            </a:pPr>
            <a:r>
              <a:rPr lang="nl-NL"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el dat we gaan afscheid nemen, met wie gaan we verder?</a:t>
            </a:r>
          </a:p>
        </p:txBody>
      </p:sp>
    </p:spTree>
    <p:extLst>
      <p:ext uri="{BB962C8B-B14F-4D97-AF65-F5344CB8AC3E}">
        <p14:creationId xmlns:p14="http://schemas.microsoft.com/office/powerpoint/2010/main" val="2379129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3CC80215-C50A-4196-7B54-FB5A174AA3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11520000" cy="6480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855762BA-6A1A-82CB-E54A-BE734BEEAF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7752" y="1669935"/>
            <a:ext cx="2844498" cy="3521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554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33073BA-6013-1AF3-7218-93A97C22B9DF}"/>
              </a:ext>
            </a:extLst>
          </p:cNvPr>
          <p:cNvSpPr/>
          <p:nvPr/>
        </p:nvSpPr>
        <p:spPr>
          <a:xfrm>
            <a:off x="-17020" y="-8079"/>
            <a:ext cx="4694828" cy="5812403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3"/>
              </a:buClr>
            </a:pPr>
            <a:endParaRPr lang="en-GB" sz="900" err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TextBox 80">
            <a:extLst>
              <a:ext uri="{FF2B5EF4-FFF2-40B4-BE49-F238E27FC236}">
                <a16:creationId xmlns:a16="http://schemas.microsoft.com/office/drawing/2014/main" id="{E4B56F38-D319-1E33-83EB-0F04349BE264}"/>
              </a:ext>
            </a:extLst>
          </p:cNvPr>
          <p:cNvSpPr txBox="1"/>
          <p:nvPr/>
        </p:nvSpPr>
        <p:spPr>
          <a:xfrm>
            <a:off x="108680" y="798736"/>
            <a:ext cx="4489227" cy="3062377"/>
          </a:xfrm>
          <a:prstGeom prst="rect">
            <a:avLst/>
          </a:prstGeom>
          <a:noFill/>
        </p:spPr>
        <p:txBody>
          <a:bodyPr wrap="square" lIns="0" tIns="45720" rIns="91440" bIns="45720" rtlCol="0" anchor="t">
            <a:spAutoFit/>
          </a:bodyPr>
          <a:lstStyle/>
          <a:p>
            <a:pPr marR="0" lvl="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b="1" kern="0" noProof="1">
                <a:solidFill>
                  <a:srgbClr val="F3FBF7"/>
                </a:solidFill>
                <a:latin typeface="Montserrat"/>
              </a:rPr>
              <a:t>STAP 3:</a:t>
            </a:r>
          </a:p>
          <a:p>
            <a:pPr marR="0" lvl="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800" b="1" kern="0" noProof="1">
                <a:solidFill>
                  <a:srgbClr val="F3FBF7"/>
                </a:solidFill>
                <a:latin typeface="Montserrat"/>
              </a:rPr>
              <a:t>Verbind data bronnen</a:t>
            </a:r>
            <a:br>
              <a:rPr lang="en-US" sz="1800" b="1" kern="0" noProof="1">
                <a:latin typeface="Montserrat" panose="00000500000000000000" pitchFamily="2" charset="0"/>
              </a:rPr>
            </a:br>
            <a:endParaRPr lang="nl-NL" sz="900" kern="0" noProof="1">
              <a:solidFill>
                <a:srgbClr val="F3FBF7"/>
              </a:solidFill>
              <a:highlight>
                <a:srgbClr val="0000FF"/>
              </a:highlight>
              <a:latin typeface="Montserrat" panose="00000500000000000000" pitchFamily="2" charset="0"/>
            </a:endParaRPr>
          </a:p>
          <a:p>
            <a:pPr marL="285750" marR="0" lvl="0" indent="-28575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kern="0" noProof="1">
                <a:solidFill>
                  <a:srgbClr val="F3FBF7"/>
                </a:solidFill>
                <a:latin typeface="Montserrat"/>
              </a:rPr>
              <a:t>Data verzameling &amp; aggregatie</a:t>
            </a:r>
          </a:p>
          <a:p>
            <a:pPr marL="285750" marR="0" lvl="0" indent="-28575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kern="0" noProof="1">
                <a:solidFill>
                  <a:srgbClr val="F3FBF7"/>
                </a:solidFill>
                <a:latin typeface="Montserrat"/>
              </a:rPr>
              <a:t>Modelleren/ structureren van data conform standaarden</a:t>
            </a:r>
          </a:p>
          <a:p>
            <a:pPr marL="285750" marR="0" lvl="0" indent="-28575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kern="0" noProof="1">
                <a:solidFill>
                  <a:srgbClr val="F3FBF7"/>
                </a:solidFill>
                <a:latin typeface="Montserrat"/>
              </a:rPr>
              <a:t>Snelle oplossingen voor additionele data toevoegen (b.v. API’s met nutsbedrijven)</a:t>
            </a:r>
          </a:p>
          <a:p>
            <a:pPr marL="285750" marR="0" lvl="0" indent="-28575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kern="0" noProof="1">
                <a:solidFill>
                  <a:srgbClr val="F3FBF7"/>
                </a:solidFill>
                <a:latin typeface="Montserrat"/>
              </a:rPr>
              <a:t>Neem data in via solution design (IT-systemen, lakehouse, Datawarehouse)</a:t>
            </a:r>
          </a:p>
          <a:p>
            <a:pPr marL="285750" indent="-285750" defTabSz="914354">
              <a:buFont typeface="Arial" panose="020B0604020202020204" pitchFamily="34" charset="0"/>
              <a:buChar char="•"/>
              <a:defRPr/>
            </a:pPr>
            <a:r>
              <a:rPr lang="en-US" sz="1400" kern="0" noProof="1">
                <a:solidFill>
                  <a:srgbClr val="F3FBF7"/>
                </a:solidFill>
                <a:latin typeface="Montserrat"/>
              </a:rPr>
              <a:t>Datareadyness voor ESG tooling (zie volgende stappen)</a:t>
            </a:r>
          </a:p>
          <a:p>
            <a:pPr marR="0" lvl="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kern="0" noProof="1">
              <a:solidFill>
                <a:srgbClr val="F3FBF7"/>
              </a:solidFill>
              <a:highlight>
                <a:srgbClr val="0000FF"/>
              </a:highlight>
              <a:latin typeface="Montserrat" panose="00000500000000000000" pitchFamily="2" charset="0"/>
            </a:endParaRPr>
          </a:p>
        </p:txBody>
      </p: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D4045DE1-582C-ABA9-6AF3-6A5BC2600E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48356" y="1591760"/>
            <a:ext cx="6356232" cy="3096346"/>
          </a:xfrm>
          <a:prstGeom prst="rect">
            <a:avLst/>
          </a:prstGeom>
        </p:spPr>
      </p:pic>
      <p:sp>
        <p:nvSpPr>
          <p:cNvPr id="32" name="Tekstvak 31">
            <a:extLst>
              <a:ext uri="{FF2B5EF4-FFF2-40B4-BE49-F238E27FC236}">
                <a16:creationId xmlns:a16="http://schemas.microsoft.com/office/drawing/2014/main" id="{A273E4C2-1E24-55E7-F295-00D9D2A381A9}"/>
              </a:ext>
            </a:extLst>
          </p:cNvPr>
          <p:cNvSpPr txBox="1"/>
          <p:nvPr/>
        </p:nvSpPr>
        <p:spPr>
          <a:xfrm>
            <a:off x="5650179" y="1070328"/>
            <a:ext cx="5412171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nl-NL" sz="1800" b="1">
                <a:latin typeface="Montserrat"/>
              </a:rPr>
              <a:t>DATA-HUISHOUDING VANUIT SAMENHANG</a:t>
            </a:r>
            <a:endParaRPr lang="nl-NL" sz="1800" b="1">
              <a:latin typeface="Montserrat" panose="00000500000000000000" pitchFamily="2" charset="0"/>
            </a:endParaRPr>
          </a:p>
        </p:txBody>
      </p:sp>
      <p:sp>
        <p:nvSpPr>
          <p:cNvPr id="33" name="Tekstvak 32">
            <a:extLst>
              <a:ext uri="{FF2B5EF4-FFF2-40B4-BE49-F238E27FC236}">
                <a16:creationId xmlns:a16="http://schemas.microsoft.com/office/drawing/2014/main" id="{1B2FDC42-8599-B6B5-596A-F713CA21F739}"/>
              </a:ext>
            </a:extLst>
          </p:cNvPr>
          <p:cNvSpPr txBox="1"/>
          <p:nvPr/>
        </p:nvSpPr>
        <p:spPr>
          <a:xfrm>
            <a:off x="5073795" y="1688216"/>
            <a:ext cx="2885176" cy="246221"/>
          </a:xfrm>
          <a:prstGeom prst="rect">
            <a:avLst/>
          </a:prstGeom>
          <a:solidFill>
            <a:srgbClr val="2F8D5E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l-NL" sz="1600" b="1">
                <a:solidFill>
                  <a:schemeClr val="bg1"/>
                </a:solidFill>
                <a:latin typeface="Montserrat"/>
              </a:rPr>
              <a:t>BEYOND COMPLIANCE</a:t>
            </a:r>
            <a:endParaRPr lang="nl-NL" sz="1600" b="1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sp>
        <p:nvSpPr>
          <p:cNvPr id="34" name="Tekstvak 33">
            <a:extLst>
              <a:ext uri="{FF2B5EF4-FFF2-40B4-BE49-F238E27FC236}">
                <a16:creationId xmlns:a16="http://schemas.microsoft.com/office/drawing/2014/main" id="{3CBB9805-363B-1107-81C3-B4374E988E07}"/>
              </a:ext>
            </a:extLst>
          </p:cNvPr>
          <p:cNvSpPr txBox="1"/>
          <p:nvPr/>
        </p:nvSpPr>
        <p:spPr>
          <a:xfrm>
            <a:off x="8356265" y="1688215"/>
            <a:ext cx="2885176" cy="246221"/>
          </a:xfrm>
          <a:prstGeom prst="rect">
            <a:avLst/>
          </a:prstGeom>
          <a:solidFill>
            <a:srgbClr val="2F8D5E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l-NL" sz="1600" b="1">
                <a:solidFill>
                  <a:schemeClr val="bg1"/>
                </a:solidFill>
                <a:latin typeface="Montserrat"/>
              </a:rPr>
              <a:t>REPORTING EN STUREN</a:t>
            </a:r>
            <a:endParaRPr lang="nl-NL" sz="1600" b="1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sp>
        <p:nvSpPr>
          <p:cNvPr id="35" name="Tekstvak 34">
            <a:extLst>
              <a:ext uri="{FF2B5EF4-FFF2-40B4-BE49-F238E27FC236}">
                <a16:creationId xmlns:a16="http://schemas.microsoft.com/office/drawing/2014/main" id="{3AE1E8A4-9520-9DCD-EFB1-511A04E44E08}"/>
              </a:ext>
            </a:extLst>
          </p:cNvPr>
          <p:cNvSpPr txBox="1"/>
          <p:nvPr/>
        </p:nvSpPr>
        <p:spPr>
          <a:xfrm>
            <a:off x="5023284" y="3194492"/>
            <a:ext cx="2885176" cy="246221"/>
          </a:xfrm>
          <a:prstGeom prst="rect">
            <a:avLst/>
          </a:prstGeom>
          <a:solidFill>
            <a:srgbClr val="2F8D5E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l-NL" sz="1600" b="1">
                <a:solidFill>
                  <a:schemeClr val="bg1"/>
                </a:solidFill>
                <a:latin typeface="Montserrat"/>
              </a:rPr>
              <a:t>DATA VASTLEGGING</a:t>
            </a:r>
            <a:endParaRPr lang="nl-NL" sz="1600" b="1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sp>
        <p:nvSpPr>
          <p:cNvPr id="36" name="Tekstvak 35">
            <a:extLst>
              <a:ext uri="{FF2B5EF4-FFF2-40B4-BE49-F238E27FC236}">
                <a16:creationId xmlns:a16="http://schemas.microsoft.com/office/drawing/2014/main" id="{8A5003AD-5099-5FED-D9D2-B26E477CD870}"/>
              </a:ext>
            </a:extLst>
          </p:cNvPr>
          <p:cNvSpPr txBox="1"/>
          <p:nvPr/>
        </p:nvSpPr>
        <p:spPr>
          <a:xfrm>
            <a:off x="8312527" y="3188160"/>
            <a:ext cx="2885176" cy="246221"/>
          </a:xfrm>
          <a:prstGeom prst="rect">
            <a:avLst/>
          </a:prstGeom>
          <a:solidFill>
            <a:srgbClr val="2F8D5E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l-NL" sz="1600" b="1">
                <a:solidFill>
                  <a:schemeClr val="bg1"/>
                </a:solidFill>
                <a:latin typeface="Montserrat"/>
              </a:rPr>
              <a:t>DATA VERZAMELEN</a:t>
            </a:r>
            <a:endParaRPr lang="nl-NL" sz="1600" b="1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5BC56D6D-ED31-F9B9-96AE-7553E995A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688" y="6119725"/>
            <a:ext cx="431800" cy="360362"/>
          </a:xfrm>
        </p:spPr>
        <p:txBody>
          <a:bodyPr/>
          <a:lstStyle/>
          <a:p>
            <a:pPr marL="0" marR="0" lvl="0" indent="0" algn="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82D01A-ED25-4F30-894A-E32B487BCBA5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F4F6F8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pPr marL="0" marR="0" lvl="0" indent="0" algn="r" defTabSz="86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F4F6F8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91E65573-2224-9CA7-759F-6E1B9F7D0226}"/>
              </a:ext>
            </a:extLst>
          </p:cNvPr>
          <p:cNvSpPr/>
          <p:nvPr/>
        </p:nvSpPr>
        <p:spPr>
          <a:xfrm>
            <a:off x="244" y="5804413"/>
            <a:ext cx="11520488" cy="67558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err="1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74D4165-4BF3-CA90-58AE-6EE1312EE60A}"/>
              </a:ext>
            </a:extLst>
          </p:cNvPr>
          <p:cNvSpPr txBox="1">
            <a:spLocks/>
          </p:cNvSpPr>
          <p:nvPr/>
        </p:nvSpPr>
        <p:spPr>
          <a:xfrm>
            <a:off x="125479" y="5917710"/>
            <a:ext cx="10296239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BeYOND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883BF600-6865-65D6-711E-0B416E72AE7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5" name="Picture 2" descr="Nationale Coalitie Duurzame Digitalisering">
            <a:extLst>
              <a:ext uri="{FF2B5EF4-FFF2-40B4-BE49-F238E27FC236}">
                <a16:creationId xmlns:a16="http://schemas.microsoft.com/office/drawing/2014/main" id="{D407EB7D-AA7A-6F18-3EF3-65B1A84A13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2755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36B47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4842B43-E5D1-41C8-BF11-516D861E5B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3" name="TextBox 80">
            <a:extLst>
              <a:ext uri="{FF2B5EF4-FFF2-40B4-BE49-F238E27FC236}">
                <a16:creationId xmlns:a16="http://schemas.microsoft.com/office/drawing/2014/main" id="{BE92EBF3-F39E-2A96-A822-638B9AB8BC48}"/>
              </a:ext>
            </a:extLst>
          </p:cNvPr>
          <p:cNvSpPr txBox="1"/>
          <p:nvPr/>
        </p:nvSpPr>
        <p:spPr>
          <a:xfrm>
            <a:off x="6146708" y="553876"/>
            <a:ext cx="3731394" cy="646331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1">
                <a:ln>
                  <a:noFill/>
                </a:ln>
                <a:solidFill>
                  <a:srgbClr val="F3FBF7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1. </a:t>
            </a:r>
            <a:r>
              <a:rPr lang="nl-NL" sz="1800" kern="0" noProof="1">
                <a:solidFill>
                  <a:srgbClr val="F3FBF7"/>
                </a:solidFill>
                <a:latin typeface="Montserrat" panose="00000500000000000000" pitchFamily="2" charset="0"/>
              </a:rPr>
              <a:t>Dubbele m</a:t>
            </a:r>
            <a:r>
              <a:rPr kumimoji="0" lang="nl-NL" sz="1800" b="0" i="0" u="none" strike="noStrike" kern="0" cap="none" spc="0" normalizeH="0" baseline="0" noProof="1">
                <a:ln>
                  <a:noFill/>
                </a:ln>
                <a:solidFill>
                  <a:srgbClr val="F3FBF7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terialiteits-analyse &amp; organisatie</a:t>
            </a:r>
          </a:p>
        </p:txBody>
      </p:sp>
      <p:sp>
        <p:nvSpPr>
          <p:cNvPr id="1049" name="TextBox 86">
            <a:extLst>
              <a:ext uri="{FF2B5EF4-FFF2-40B4-BE49-F238E27FC236}">
                <a16:creationId xmlns:a16="http://schemas.microsoft.com/office/drawing/2014/main" id="{416E1FF7-E331-AA2C-C613-A0AB8BC227A1}"/>
              </a:ext>
            </a:extLst>
          </p:cNvPr>
          <p:cNvSpPr txBox="1"/>
          <p:nvPr/>
        </p:nvSpPr>
        <p:spPr>
          <a:xfrm>
            <a:off x="7053779" y="2769167"/>
            <a:ext cx="3980006" cy="646331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1">
                <a:ln>
                  <a:noFill/>
                </a:ln>
                <a:solidFill>
                  <a:srgbClr val="F3FBF7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2. </a:t>
            </a:r>
            <a:r>
              <a:rPr kumimoji="0" lang="nl-NL" sz="1800" b="0" i="0" u="none" strike="noStrike" kern="0" cap="none" spc="0" normalizeH="0" baseline="0" noProof="1">
                <a:ln>
                  <a:noFill/>
                </a:ln>
                <a:solidFill>
                  <a:srgbClr val="F3FBF7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Rapportageoplossing &amp; beschikbaarheid data</a:t>
            </a:r>
            <a:endParaRPr kumimoji="0" lang="en-US" sz="1800" b="0" i="0" u="none" strike="noStrike" kern="0" cap="none" spc="0" normalizeH="0" baseline="0" noProof="1">
              <a:ln>
                <a:noFill/>
              </a:ln>
              <a:solidFill>
                <a:srgbClr val="F3FBF7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1052" name="TextBox 83">
            <a:extLst>
              <a:ext uri="{FF2B5EF4-FFF2-40B4-BE49-F238E27FC236}">
                <a16:creationId xmlns:a16="http://schemas.microsoft.com/office/drawing/2014/main" id="{4BCB7DAD-AAD1-D412-CF54-31330279EDE2}"/>
              </a:ext>
            </a:extLst>
          </p:cNvPr>
          <p:cNvSpPr txBox="1"/>
          <p:nvPr/>
        </p:nvSpPr>
        <p:spPr>
          <a:xfrm>
            <a:off x="6694743" y="4758652"/>
            <a:ext cx="3034054" cy="369332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kern="0" noProof="1">
                <a:solidFill>
                  <a:srgbClr val="F3FBF7"/>
                </a:solidFill>
                <a:latin typeface="Montserrat"/>
              </a:rPr>
              <a:t>3</a:t>
            </a:r>
            <a:r>
              <a:rPr kumimoji="0" lang="en-US" sz="1800" b="1" i="0" u="none" strike="noStrike" kern="0" cap="none" spc="0" normalizeH="0" baseline="0" noProof="1">
                <a:ln>
                  <a:noFill/>
                </a:ln>
                <a:solidFill>
                  <a:srgbClr val="F3FBF7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. </a:t>
            </a:r>
            <a:r>
              <a:rPr kumimoji="0" lang="en-US" sz="1800" b="0" i="0" u="none" strike="noStrike" kern="0" cap="none" spc="0" normalizeH="0" baseline="0" noProof="1">
                <a:ln>
                  <a:noFill/>
                </a:ln>
                <a:solidFill>
                  <a:srgbClr val="F3FBF7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Verbind data bronnen</a:t>
            </a:r>
          </a:p>
        </p:txBody>
      </p:sp>
      <p:sp>
        <p:nvSpPr>
          <p:cNvPr id="1055" name="TextBox 65">
            <a:extLst>
              <a:ext uri="{FF2B5EF4-FFF2-40B4-BE49-F238E27FC236}">
                <a16:creationId xmlns:a16="http://schemas.microsoft.com/office/drawing/2014/main" id="{1BC1C2AF-2923-C5F3-C9FF-24AB1DCBD671}"/>
              </a:ext>
            </a:extLst>
          </p:cNvPr>
          <p:cNvSpPr txBox="1"/>
          <p:nvPr/>
        </p:nvSpPr>
        <p:spPr>
          <a:xfrm>
            <a:off x="1976609" y="473774"/>
            <a:ext cx="3478132" cy="646331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kern="0" noProof="1">
                <a:solidFill>
                  <a:srgbClr val="F3FBF7"/>
                </a:solidFill>
                <a:latin typeface="Montserrat"/>
              </a:rPr>
              <a:t>6</a:t>
            </a:r>
            <a:r>
              <a:rPr kumimoji="0" lang="en-US" sz="1800" b="1" i="0" u="none" strike="noStrike" kern="0" cap="none" spc="0" normalizeH="0" baseline="0" noProof="1">
                <a:ln>
                  <a:noFill/>
                </a:ln>
                <a:solidFill>
                  <a:srgbClr val="F3FBF7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. </a:t>
            </a:r>
            <a:r>
              <a:rPr kumimoji="0" lang="en-US" sz="1800" b="0" i="0" u="none" strike="noStrike" kern="0" cap="none" spc="0" normalizeH="0" baseline="0" noProof="1">
                <a:ln>
                  <a:noFill/>
                </a:ln>
                <a:solidFill>
                  <a:srgbClr val="F3FBF7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ESG actieplan &amp; </a:t>
            </a:r>
            <a:endParaRPr kumimoji="0" lang="en-US" sz="1800" b="0" i="0" u="none" strike="noStrike" kern="0" cap="none" spc="0" normalizeH="0" baseline="0" noProof="1">
              <a:ln>
                <a:noFill/>
              </a:ln>
              <a:solidFill>
                <a:srgbClr val="F3FBF7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1">
                <a:ln>
                  <a:noFill/>
                </a:ln>
                <a:solidFill>
                  <a:srgbClr val="F3FBF7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ntinu verbeteren</a:t>
            </a:r>
          </a:p>
        </p:txBody>
      </p:sp>
      <p:sp>
        <p:nvSpPr>
          <p:cNvPr id="1058" name="TextBox 74">
            <a:extLst>
              <a:ext uri="{FF2B5EF4-FFF2-40B4-BE49-F238E27FC236}">
                <a16:creationId xmlns:a16="http://schemas.microsoft.com/office/drawing/2014/main" id="{87150E8F-AA35-F5AA-6694-A6FECE4F8DA3}"/>
              </a:ext>
            </a:extLst>
          </p:cNvPr>
          <p:cNvSpPr txBox="1"/>
          <p:nvPr/>
        </p:nvSpPr>
        <p:spPr>
          <a:xfrm>
            <a:off x="1301150" y="2477390"/>
            <a:ext cx="2753490" cy="646331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kern="0" noProof="1">
                <a:solidFill>
                  <a:srgbClr val="F3FBF7"/>
                </a:solidFill>
                <a:latin typeface="Montserrat"/>
              </a:rPr>
              <a:t>5</a:t>
            </a:r>
            <a:r>
              <a:rPr kumimoji="0" lang="en-US" sz="1800" b="1" i="0" u="none" strike="noStrike" kern="0" cap="none" spc="0" normalizeH="0" baseline="0" noProof="1">
                <a:ln>
                  <a:noFill/>
                </a:ln>
                <a:solidFill>
                  <a:srgbClr val="F3FBF7"/>
                </a:solidFill>
                <a:effectLst/>
                <a:uLnTx/>
                <a:uFillTx/>
                <a:latin typeface="Montserrat"/>
              </a:rPr>
              <a:t>. Rapporteren &amp; compliance</a:t>
            </a:r>
            <a:endParaRPr lang="en-US" sz="1800" b="1" i="0" u="none" strike="noStrike" kern="0" cap="none" spc="0" normalizeH="0" baseline="0" noProof="1">
              <a:ln>
                <a:noFill/>
              </a:ln>
              <a:solidFill>
                <a:srgbClr val="F3FBF7"/>
              </a:solidFill>
              <a:effectLst/>
              <a:uLnTx/>
              <a:uFillTx/>
              <a:latin typeface="Montserrat"/>
            </a:endParaRPr>
          </a:p>
        </p:txBody>
      </p:sp>
      <p:sp>
        <p:nvSpPr>
          <p:cNvPr id="1061" name="Tekstvak 1060">
            <a:extLst>
              <a:ext uri="{FF2B5EF4-FFF2-40B4-BE49-F238E27FC236}">
                <a16:creationId xmlns:a16="http://schemas.microsoft.com/office/drawing/2014/main" id="{E1E37C86-B283-7098-2879-5ACA45A29F97}"/>
              </a:ext>
            </a:extLst>
          </p:cNvPr>
          <p:cNvSpPr txBox="1"/>
          <p:nvPr/>
        </p:nvSpPr>
        <p:spPr>
          <a:xfrm>
            <a:off x="2881313" y="3002109"/>
            <a:ext cx="58007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1">
                <a:ln>
                  <a:noFill/>
                </a:ln>
                <a:solidFill>
                  <a:srgbClr val="00BCE2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endParaRPr kumimoji="0" lang="en-GB" sz="1701" b="0" i="0" u="none" strike="noStrike" kern="1200" cap="none" spc="0" normalizeH="0" baseline="0" noProof="0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63" name="TextBox 71">
            <a:extLst>
              <a:ext uri="{FF2B5EF4-FFF2-40B4-BE49-F238E27FC236}">
                <a16:creationId xmlns:a16="http://schemas.microsoft.com/office/drawing/2014/main" id="{E7B66DFB-0B0B-BB9F-C946-FE78E9EA38CA}"/>
              </a:ext>
            </a:extLst>
          </p:cNvPr>
          <p:cNvSpPr txBox="1"/>
          <p:nvPr/>
        </p:nvSpPr>
        <p:spPr>
          <a:xfrm>
            <a:off x="2245592" y="4347734"/>
            <a:ext cx="2856177" cy="646331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1">
                <a:ln>
                  <a:noFill/>
                </a:ln>
                <a:solidFill>
                  <a:srgbClr val="F3FBF7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4. Berekening &amp; conversie</a:t>
            </a:r>
            <a:endParaRPr lang="en-US" sz="1800" b="1" i="0" u="none" strike="noStrike" kern="0" cap="none" spc="0" normalizeH="0" baseline="0" noProof="1">
              <a:ln>
                <a:noFill/>
              </a:ln>
              <a:solidFill>
                <a:srgbClr val="F3FBF7"/>
              </a:solidFill>
              <a:effectLst/>
              <a:uLnTx/>
              <a:uFillTx/>
              <a:latin typeface="Montserrat"/>
            </a:endParaRPr>
          </a:p>
        </p:txBody>
      </p:sp>
      <p:grpSp>
        <p:nvGrpSpPr>
          <p:cNvPr id="3" name="Group 23">
            <a:extLst>
              <a:ext uri="{FF2B5EF4-FFF2-40B4-BE49-F238E27FC236}">
                <a16:creationId xmlns:a16="http://schemas.microsoft.com/office/drawing/2014/main" id="{E02EB222-789F-537A-2EC7-CA9A8FC9438C}"/>
              </a:ext>
            </a:extLst>
          </p:cNvPr>
          <p:cNvGrpSpPr>
            <a:grpSpLocks/>
          </p:cNvGrpSpPr>
          <p:nvPr/>
        </p:nvGrpSpPr>
        <p:grpSpPr>
          <a:xfrm>
            <a:off x="3480978" y="651977"/>
            <a:ext cx="4305993" cy="4305993"/>
            <a:chOff x="3703044" y="1238239"/>
            <a:chExt cx="4785911" cy="4780994"/>
          </a:xfrm>
        </p:grpSpPr>
        <p:sp>
          <p:nvSpPr>
            <p:cNvPr id="4" name="Freeform 24">
              <a:extLst>
                <a:ext uri="{FF2B5EF4-FFF2-40B4-BE49-F238E27FC236}">
                  <a16:creationId xmlns:a16="http://schemas.microsoft.com/office/drawing/2014/main" id="{208A19B4-497E-3A53-CC5F-876DCE620C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4634" y="4273088"/>
              <a:ext cx="2365903" cy="1746145"/>
            </a:xfrm>
            <a:custGeom>
              <a:avLst/>
              <a:gdLst>
                <a:gd name="T0" fmla="*/ 298 w 1922"/>
                <a:gd name="T1" fmla="*/ 324 h 1419"/>
                <a:gd name="T2" fmla="*/ 0 w 1922"/>
                <a:gd name="T3" fmla="*/ 875 h 1419"/>
                <a:gd name="T4" fmla="*/ 298 w 1922"/>
                <a:gd name="T5" fmla="*/ 1419 h 1419"/>
                <a:gd name="T6" fmla="*/ 301 w 1922"/>
                <a:gd name="T7" fmla="*/ 1419 h 1419"/>
                <a:gd name="T8" fmla="*/ 364 w 1922"/>
                <a:gd name="T9" fmla="*/ 1418 h 1419"/>
                <a:gd name="T10" fmla="*/ 490 w 1922"/>
                <a:gd name="T11" fmla="*/ 1410 h 1419"/>
                <a:gd name="T12" fmla="*/ 612 w 1922"/>
                <a:gd name="T13" fmla="*/ 1394 h 1419"/>
                <a:gd name="T14" fmla="*/ 732 w 1922"/>
                <a:gd name="T15" fmla="*/ 1371 h 1419"/>
                <a:gd name="T16" fmla="*/ 849 w 1922"/>
                <a:gd name="T17" fmla="*/ 1341 h 1419"/>
                <a:gd name="T18" fmla="*/ 964 w 1922"/>
                <a:gd name="T19" fmla="*/ 1304 h 1419"/>
                <a:gd name="T20" fmla="*/ 1075 w 1922"/>
                <a:gd name="T21" fmla="*/ 1260 h 1419"/>
                <a:gd name="T22" fmla="*/ 1182 w 1922"/>
                <a:gd name="T23" fmla="*/ 1209 h 1419"/>
                <a:gd name="T24" fmla="*/ 1287 w 1922"/>
                <a:gd name="T25" fmla="*/ 1152 h 1419"/>
                <a:gd name="T26" fmla="*/ 1387 w 1922"/>
                <a:gd name="T27" fmla="*/ 1088 h 1419"/>
                <a:gd name="T28" fmla="*/ 1482 w 1922"/>
                <a:gd name="T29" fmla="*/ 1020 h 1419"/>
                <a:gd name="T30" fmla="*/ 1574 w 1922"/>
                <a:gd name="T31" fmla="*/ 946 h 1419"/>
                <a:gd name="T32" fmla="*/ 1660 w 1922"/>
                <a:gd name="T33" fmla="*/ 866 h 1419"/>
                <a:gd name="T34" fmla="*/ 1742 w 1922"/>
                <a:gd name="T35" fmla="*/ 781 h 1419"/>
                <a:gd name="T36" fmla="*/ 1819 w 1922"/>
                <a:gd name="T37" fmla="*/ 692 h 1419"/>
                <a:gd name="T38" fmla="*/ 1889 w 1922"/>
                <a:gd name="T39" fmla="*/ 597 h 1419"/>
                <a:gd name="T40" fmla="*/ 1922 w 1922"/>
                <a:gd name="T41" fmla="*/ 549 h 1419"/>
                <a:gd name="T42" fmla="*/ 1298 w 1922"/>
                <a:gd name="T43" fmla="*/ 535 h 1419"/>
                <a:gd name="T44" fmla="*/ 970 w 1922"/>
                <a:gd name="T45" fmla="*/ 0 h 1419"/>
                <a:gd name="T46" fmla="*/ 940 w 1922"/>
                <a:gd name="T47" fmla="*/ 36 h 1419"/>
                <a:gd name="T48" fmla="*/ 874 w 1922"/>
                <a:gd name="T49" fmla="*/ 103 h 1419"/>
                <a:gd name="T50" fmla="*/ 800 w 1922"/>
                <a:gd name="T51" fmla="*/ 163 h 1419"/>
                <a:gd name="T52" fmla="*/ 721 w 1922"/>
                <a:gd name="T53" fmla="*/ 214 h 1419"/>
                <a:gd name="T54" fmla="*/ 635 w 1922"/>
                <a:gd name="T55" fmla="*/ 256 h 1419"/>
                <a:gd name="T56" fmla="*/ 546 w 1922"/>
                <a:gd name="T57" fmla="*/ 289 h 1419"/>
                <a:gd name="T58" fmla="*/ 451 w 1922"/>
                <a:gd name="T59" fmla="*/ 312 h 1419"/>
                <a:gd name="T60" fmla="*/ 353 w 1922"/>
                <a:gd name="T61" fmla="*/ 324 h 1419"/>
                <a:gd name="T62" fmla="*/ 301 w 1922"/>
                <a:gd name="T63" fmla="*/ 325 h 1419"/>
                <a:gd name="T64" fmla="*/ 298 w 1922"/>
                <a:gd name="T65" fmla="*/ 324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22" h="1419">
                  <a:moveTo>
                    <a:pt x="298" y="324"/>
                  </a:moveTo>
                  <a:lnTo>
                    <a:pt x="0" y="875"/>
                  </a:lnTo>
                  <a:lnTo>
                    <a:pt x="298" y="1419"/>
                  </a:lnTo>
                  <a:lnTo>
                    <a:pt x="301" y="1419"/>
                  </a:lnTo>
                  <a:lnTo>
                    <a:pt x="364" y="1418"/>
                  </a:lnTo>
                  <a:lnTo>
                    <a:pt x="490" y="1410"/>
                  </a:lnTo>
                  <a:lnTo>
                    <a:pt x="612" y="1394"/>
                  </a:lnTo>
                  <a:lnTo>
                    <a:pt x="732" y="1371"/>
                  </a:lnTo>
                  <a:lnTo>
                    <a:pt x="849" y="1341"/>
                  </a:lnTo>
                  <a:lnTo>
                    <a:pt x="964" y="1304"/>
                  </a:lnTo>
                  <a:lnTo>
                    <a:pt x="1075" y="1260"/>
                  </a:lnTo>
                  <a:lnTo>
                    <a:pt x="1182" y="1209"/>
                  </a:lnTo>
                  <a:lnTo>
                    <a:pt x="1287" y="1152"/>
                  </a:lnTo>
                  <a:lnTo>
                    <a:pt x="1387" y="1088"/>
                  </a:lnTo>
                  <a:lnTo>
                    <a:pt x="1482" y="1020"/>
                  </a:lnTo>
                  <a:lnTo>
                    <a:pt x="1574" y="946"/>
                  </a:lnTo>
                  <a:lnTo>
                    <a:pt x="1660" y="866"/>
                  </a:lnTo>
                  <a:lnTo>
                    <a:pt x="1742" y="781"/>
                  </a:lnTo>
                  <a:lnTo>
                    <a:pt x="1819" y="692"/>
                  </a:lnTo>
                  <a:lnTo>
                    <a:pt x="1889" y="597"/>
                  </a:lnTo>
                  <a:lnTo>
                    <a:pt x="1922" y="549"/>
                  </a:lnTo>
                  <a:lnTo>
                    <a:pt x="1298" y="535"/>
                  </a:lnTo>
                  <a:lnTo>
                    <a:pt x="970" y="0"/>
                  </a:lnTo>
                  <a:lnTo>
                    <a:pt x="940" y="36"/>
                  </a:lnTo>
                  <a:lnTo>
                    <a:pt x="874" y="103"/>
                  </a:lnTo>
                  <a:lnTo>
                    <a:pt x="800" y="163"/>
                  </a:lnTo>
                  <a:lnTo>
                    <a:pt x="721" y="214"/>
                  </a:lnTo>
                  <a:lnTo>
                    <a:pt x="635" y="256"/>
                  </a:lnTo>
                  <a:lnTo>
                    <a:pt x="546" y="289"/>
                  </a:lnTo>
                  <a:lnTo>
                    <a:pt x="451" y="312"/>
                  </a:lnTo>
                  <a:lnTo>
                    <a:pt x="353" y="324"/>
                  </a:lnTo>
                  <a:lnTo>
                    <a:pt x="301" y="325"/>
                  </a:lnTo>
                  <a:lnTo>
                    <a:pt x="298" y="32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400" b="1">
                <a:solidFill>
                  <a:schemeClr val="bg1"/>
                </a:solidFill>
              </a:endParaRPr>
            </a:p>
          </p:txBody>
        </p:sp>
        <p:sp>
          <p:nvSpPr>
            <p:cNvPr id="5" name="Freeform 27">
              <a:extLst>
                <a:ext uri="{FF2B5EF4-FFF2-40B4-BE49-F238E27FC236}">
                  <a16:creationId xmlns:a16="http://schemas.microsoft.com/office/drawing/2014/main" id="{7867FA2E-9DAD-BE38-7F95-638D8D27BA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8583" y="2551537"/>
              <a:ext cx="1490372" cy="2267529"/>
            </a:xfrm>
            <a:custGeom>
              <a:avLst/>
              <a:gdLst>
                <a:gd name="T0" fmla="*/ 1002 w 1209"/>
                <a:gd name="T1" fmla="*/ 0 h 1842"/>
                <a:gd name="T2" fmla="*/ 678 w 1209"/>
                <a:gd name="T3" fmla="*/ 534 h 1842"/>
                <a:gd name="T4" fmla="*/ 52 w 1209"/>
                <a:gd name="T5" fmla="*/ 551 h 1842"/>
                <a:gd name="T6" fmla="*/ 66 w 1209"/>
                <a:gd name="T7" fmla="*/ 588 h 1842"/>
                <a:gd name="T8" fmla="*/ 89 w 1209"/>
                <a:gd name="T9" fmla="*/ 667 h 1842"/>
                <a:gd name="T10" fmla="*/ 106 w 1209"/>
                <a:gd name="T11" fmla="*/ 748 h 1842"/>
                <a:gd name="T12" fmla="*/ 114 w 1209"/>
                <a:gd name="T13" fmla="*/ 832 h 1842"/>
                <a:gd name="T14" fmla="*/ 115 w 1209"/>
                <a:gd name="T15" fmla="*/ 875 h 1842"/>
                <a:gd name="T16" fmla="*/ 114 w 1209"/>
                <a:gd name="T17" fmla="*/ 933 h 1842"/>
                <a:gd name="T18" fmla="*/ 98 w 1209"/>
                <a:gd name="T19" fmla="*/ 1046 h 1842"/>
                <a:gd name="T20" fmla="*/ 70 w 1209"/>
                <a:gd name="T21" fmla="*/ 1152 h 1842"/>
                <a:gd name="T22" fmla="*/ 27 w 1209"/>
                <a:gd name="T23" fmla="*/ 1255 h 1842"/>
                <a:gd name="T24" fmla="*/ 0 w 1209"/>
                <a:gd name="T25" fmla="*/ 1301 h 1842"/>
                <a:gd name="T26" fmla="*/ 324 w 1209"/>
                <a:gd name="T27" fmla="*/ 1829 h 1842"/>
                <a:gd name="T28" fmla="*/ 952 w 1209"/>
                <a:gd name="T29" fmla="*/ 1842 h 1842"/>
                <a:gd name="T30" fmla="*/ 982 w 1209"/>
                <a:gd name="T31" fmla="*/ 1789 h 1842"/>
                <a:gd name="T32" fmla="*/ 1037 w 1209"/>
                <a:gd name="T33" fmla="*/ 1677 h 1842"/>
                <a:gd name="T34" fmla="*/ 1085 w 1209"/>
                <a:gd name="T35" fmla="*/ 1563 h 1842"/>
                <a:gd name="T36" fmla="*/ 1125 w 1209"/>
                <a:gd name="T37" fmla="*/ 1444 h 1842"/>
                <a:gd name="T38" fmla="*/ 1158 w 1209"/>
                <a:gd name="T39" fmla="*/ 1323 h 1842"/>
                <a:gd name="T40" fmla="*/ 1183 w 1209"/>
                <a:gd name="T41" fmla="*/ 1198 h 1842"/>
                <a:gd name="T42" fmla="*/ 1200 w 1209"/>
                <a:gd name="T43" fmla="*/ 1070 h 1842"/>
                <a:gd name="T44" fmla="*/ 1209 w 1209"/>
                <a:gd name="T45" fmla="*/ 941 h 1842"/>
                <a:gd name="T46" fmla="*/ 1209 w 1209"/>
                <a:gd name="T47" fmla="*/ 875 h 1842"/>
                <a:gd name="T48" fmla="*/ 1209 w 1209"/>
                <a:gd name="T49" fmla="*/ 816 h 1842"/>
                <a:gd name="T50" fmla="*/ 1203 w 1209"/>
                <a:gd name="T51" fmla="*/ 700 h 1842"/>
                <a:gd name="T52" fmla="*/ 1188 w 1209"/>
                <a:gd name="T53" fmla="*/ 586 h 1842"/>
                <a:gd name="T54" fmla="*/ 1169 w 1209"/>
                <a:gd name="T55" fmla="*/ 473 h 1842"/>
                <a:gd name="T56" fmla="*/ 1142 w 1209"/>
                <a:gd name="T57" fmla="*/ 363 h 1842"/>
                <a:gd name="T58" fmla="*/ 1109 w 1209"/>
                <a:gd name="T59" fmla="*/ 257 h 1842"/>
                <a:gd name="T60" fmla="*/ 1070 w 1209"/>
                <a:gd name="T61" fmla="*/ 152 h 1842"/>
                <a:gd name="T62" fmla="*/ 1026 w 1209"/>
                <a:gd name="T63" fmla="*/ 49 h 1842"/>
                <a:gd name="T64" fmla="*/ 1002 w 1209"/>
                <a:gd name="T65" fmla="*/ 0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09" h="1842">
                  <a:moveTo>
                    <a:pt x="1002" y="0"/>
                  </a:moveTo>
                  <a:lnTo>
                    <a:pt x="678" y="534"/>
                  </a:lnTo>
                  <a:lnTo>
                    <a:pt x="52" y="551"/>
                  </a:lnTo>
                  <a:lnTo>
                    <a:pt x="66" y="588"/>
                  </a:lnTo>
                  <a:lnTo>
                    <a:pt x="89" y="667"/>
                  </a:lnTo>
                  <a:lnTo>
                    <a:pt x="106" y="748"/>
                  </a:lnTo>
                  <a:lnTo>
                    <a:pt x="114" y="832"/>
                  </a:lnTo>
                  <a:lnTo>
                    <a:pt x="115" y="875"/>
                  </a:lnTo>
                  <a:lnTo>
                    <a:pt x="114" y="933"/>
                  </a:lnTo>
                  <a:lnTo>
                    <a:pt x="98" y="1046"/>
                  </a:lnTo>
                  <a:lnTo>
                    <a:pt x="70" y="1152"/>
                  </a:lnTo>
                  <a:lnTo>
                    <a:pt x="27" y="1255"/>
                  </a:lnTo>
                  <a:lnTo>
                    <a:pt x="0" y="1301"/>
                  </a:lnTo>
                  <a:lnTo>
                    <a:pt x="324" y="1829"/>
                  </a:lnTo>
                  <a:lnTo>
                    <a:pt x="952" y="1842"/>
                  </a:lnTo>
                  <a:lnTo>
                    <a:pt x="982" y="1789"/>
                  </a:lnTo>
                  <a:lnTo>
                    <a:pt x="1037" y="1677"/>
                  </a:lnTo>
                  <a:lnTo>
                    <a:pt x="1085" y="1563"/>
                  </a:lnTo>
                  <a:lnTo>
                    <a:pt x="1125" y="1444"/>
                  </a:lnTo>
                  <a:lnTo>
                    <a:pt x="1158" y="1323"/>
                  </a:lnTo>
                  <a:lnTo>
                    <a:pt x="1183" y="1198"/>
                  </a:lnTo>
                  <a:lnTo>
                    <a:pt x="1200" y="1070"/>
                  </a:lnTo>
                  <a:lnTo>
                    <a:pt x="1209" y="941"/>
                  </a:lnTo>
                  <a:lnTo>
                    <a:pt x="1209" y="875"/>
                  </a:lnTo>
                  <a:lnTo>
                    <a:pt x="1209" y="816"/>
                  </a:lnTo>
                  <a:lnTo>
                    <a:pt x="1203" y="700"/>
                  </a:lnTo>
                  <a:lnTo>
                    <a:pt x="1188" y="586"/>
                  </a:lnTo>
                  <a:lnTo>
                    <a:pt x="1169" y="473"/>
                  </a:lnTo>
                  <a:lnTo>
                    <a:pt x="1142" y="363"/>
                  </a:lnTo>
                  <a:lnTo>
                    <a:pt x="1109" y="257"/>
                  </a:lnTo>
                  <a:lnTo>
                    <a:pt x="1070" y="152"/>
                  </a:lnTo>
                  <a:lnTo>
                    <a:pt x="1026" y="49"/>
                  </a:lnTo>
                  <a:lnTo>
                    <a:pt x="1002" y="0"/>
                  </a:lnTo>
                  <a:close/>
                </a:path>
              </a:pathLst>
            </a:custGeom>
            <a:solidFill>
              <a:srgbClr val="DCDEE3">
                <a:alpha val="50196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400" b="1">
                <a:solidFill>
                  <a:schemeClr val="bg1"/>
                </a:solidFill>
              </a:endParaRPr>
            </a:p>
          </p:txBody>
        </p:sp>
        <p:sp>
          <p:nvSpPr>
            <p:cNvPr id="21" name="Freeform 30">
              <a:extLst>
                <a:ext uri="{FF2B5EF4-FFF2-40B4-BE49-F238E27FC236}">
                  <a16:creationId xmlns:a16="http://schemas.microsoft.com/office/drawing/2014/main" id="{DC902C75-622D-4793-D4ED-9B558CBEAB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6343" y="1243159"/>
              <a:ext cx="1933056" cy="1854357"/>
            </a:xfrm>
            <a:custGeom>
              <a:avLst/>
              <a:gdLst>
                <a:gd name="T0" fmla="*/ 6 w 1572"/>
                <a:gd name="T1" fmla="*/ 0 h 1511"/>
                <a:gd name="T2" fmla="*/ 303 w 1572"/>
                <a:gd name="T3" fmla="*/ 541 h 1511"/>
                <a:gd name="T4" fmla="*/ 0 w 1572"/>
                <a:gd name="T5" fmla="*/ 1099 h 1511"/>
                <a:gd name="T6" fmla="*/ 50 w 1572"/>
                <a:gd name="T7" fmla="*/ 1106 h 1511"/>
                <a:gd name="T8" fmla="*/ 146 w 1572"/>
                <a:gd name="T9" fmla="*/ 1129 h 1511"/>
                <a:gd name="T10" fmla="*/ 238 w 1572"/>
                <a:gd name="T11" fmla="*/ 1164 h 1511"/>
                <a:gd name="T12" fmla="*/ 325 w 1572"/>
                <a:gd name="T13" fmla="*/ 1208 h 1511"/>
                <a:gd name="T14" fmla="*/ 406 w 1572"/>
                <a:gd name="T15" fmla="*/ 1261 h 1511"/>
                <a:gd name="T16" fmla="*/ 478 w 1572"/>
                <a:gd name="T17" fmla="*/ 1324 h 1511"/>
                <a:gd name="T18" fmla="*/ 544 w 1572"/>
                <a:gd name="T19" fmla="*/ 1394 h 1511"/>
                <a:gd name="T20" fmla="*/ 603 w 1572"/>
                <a:gd name="T21" fmla="*/ 1470 h 1511"/>
                <a:gd name="T22" fmla="*/ 628 w 1572"/>
                <a:gd name="T23" fmla="*/ 1511 h 1511"/>
                <a:gd name="T24" fmla="*/ 1245 w 1572"/>
                <a:gd name="T25" fmla="*/ 1495 h 1511"/>
                <a:gd name="T26" fmla="*/ 1572 w 1572"/>
                <a:gd name="T27" fmla="*/ 958 h 1511"/>
                <a:gd name="T28" fmla="*/ 1542 w 1572"/>
                <a:gd name="T29" fmla="*/ 906 h 1511"/>
                <a:gd name="T30" fmla="*/ 1476 w 1572"/>
                <a:gd name="T31" fmla="*/ 809 h 1511"/>
                <a:gd name="T32" fmla="*/ 1404 w 1572"/>
                <a:gd name="T33" fmla="*/ 716 h 1511"/>
                <a:gd name="T34" fmla="*/ 1327 w 1572"/>
                <a:gd name="T35" fmla="*/ 626 h 1511"/>
                <a:gd name="T36" fmla="*/ 1245 w 1572"/>
                <a:gd name="T37" fmla="*/ 542 h 1511"/>
                <a:gd name="T38" fmla="*/ 1157 w 1572"/>
                <a:gd name="T39" fmla="*/ 463 h 1511"/>
                <a:gd name="T40" fmla="*/ 1065 w 1572"/>
                <a:gd name="T41" fmla="*/ 389 h 1511"/>
                <a:gd name="T42" fmla="*/ 969 w 1572"/>
                <a:gd name="T43" fmla="*/ 320 h 1511"/>
                <a:gd name="T44" fmla="*/ 870 w 1572"/>
                <a:gd name="T45" fmla="*/ 258 h 1511"/>
                <a:gd name="T46" fmla="*/ 765 w 1572"/>
                <a:gd name="T47" fmla="*/ 202 h 1511"/>
                <a:gd name="T48" fmla="*/ 657 w 1572"/>
                <a:gd name="T49" fmla="*/ 152 h 1511"/>
                <a:gd name="T50" fmla="*/ 544 w 1572"/>
                <a:gd name="T51" fmla="*/ 109 h 1511"/>
                <a:gd name="T52" fmla="*/ 430 w 1572"/>
                <a:gd name="T53" fmla="*/ 71 h 1511"/>
                <a:gd name="T54" fmla="*/ 312 w 1572"/>
                <a:gd name="T55" fmla="*/ 42 h 1511"/>
                <a:gd name="T56" fmla="*/ 192 w 1572"/>
                <a:gd name="T57" fmla="*/ 20 h 1511"/>
                <a:gd name="T58" fmla="*/ 69 w 1572"/>
                <a:gd name="T59" fmla="*/ 5 h 1511"/>
                <a:gd name="T60" fmla="*/ 6 w 1572"/>
                <a:gd name="T61" fmla="*/ 0 h 1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72" h="1511">
                  <a:moveTo>
                    <a:pt x="6" y="0"/>
                  </a:moveTo>
                  <a:lnTo>
                    <a:pt x="303" y="541"/>
                  </a:lnTo>
                  <a:lnTo>
                    <a:pt x="0" y="1099"/>
                  </a:lnTo>
                  <a:lnTo>
                    <a:pt x="50" y="1106"/>
                  </a:lnTo>
                  <a:lnTo>
                    <a:pt x="146" y="1129"/>
                  </a:lnTo>
                  <a:lnTo>
                    <a:pt x="238" y="1164"/>
                  </a:lnTo>
                  <a:lnTo>
                    <a:pt x="325" y="1208"/>
                  </a:lnTo>
                  <a:lnTo>
                    <a:pt x="406" y="1261"/>
                  </a:lnTo>
                  <a:lnTo>
                    <a:pt x="478" y="1324"/>
                  </a:lnTo>
                  <a:lnTo>
                    <a:pt x="544" y="1394"/>
                  </a:lnTo>
                  <a:lnTo>
                    <a:pt x="603" y="1470"/>
                  </a:lnTo>
                  <a:lnTo>
                    <a:pt x="628" y="1511"/>
                  </a:lnTo>
                  <a:lnTo>
                    <a:pt x="1245" y="1495"/>
                  </a:lnTo>
                  <a:lnTo>
                    <a:pt x="1572" y="958"/>
                  </a:lnTo>
                  <a:lnTo>
                    <a:pt x="1542" y="906"/>
                  </a:lnTo>
                  <a:lnTo>
                    <a:pt x="1476" y="809"/>
                  </a:lnTo>
                  <a:lnTo>
                    <a:pt x="1404" y="716"/>
                  </a:lnTo>
                  <a:lnTo>
                    <a:pt x="1327" y="626"/>
                  </a:lnTo>
                  <a:lnTo>
                    <a:pt x="1245" y="542"/>
                  </a:lnTo>
                  <a:lnTo>
                    <a:pt x="1157" y="463"/>
                  </a:lnTo>
                  <a:lnTo>
                    <a:pt x="1065" y="389"/>
                  </a:lnTo>
                  <a:lnTo>
                    <a:pt x="969" y="320"/>
                  </a:lnTo>
                  <a:lnTo>
                    <a:pt x="870" y="258"/>
                  </a:lnTo>
                  <a:lnTo>
                    <a:pt x="765" y="202"/>
                  </a:lnTo>
                  <a:lnTo>
                    <a:pt x="657" y="152"/>
                  </a:lnTo>
                  <a:lnTo>
                    <a:pt x="544" y="109"/>
                  </a:lnTo>
                  <a:lnTo>
                    <a:pt x="430" y="71"/>
                  </a:lnTo>
                  <a:lnTo>
                    <a:pt x="312" y="42"/>
                  </a:lnTo>
                  <a:lnTo>
                    <a:pt x="192" y="20"/>
                  </a:lnTo>
                  <a:lnTo>
                    <a:pt x="69" y="5"/>
                  </a:lnTo>
                  <a:lnTo>
                    <a:pt x="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400" b="1">
                <a:solidFill>
                  <a:schemeClr val="bg1"/>
                </a:solidFill>
              </a:endParaRPr>
            </a:p>
          </p:txBody>
        </p:sp>
        <p:sp>
          <p:nvSpPr>
            <p:cNvPr id="22" name="Freeform 1164">
              <a:extLst>
                <a:ext uri="{FF2B5EF4-FFF2-40B4-BE49-F238E27FC236}">
                  <a16:creationId xmlns:a16="http://schemas.microsoft.com/office/drawing/2014/main" id="{86F18927-D565-0DC2-54E3-91CE341A1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6346" y="1243159"/>
              <a:ext cx="1933056" cy="1854357"/>
            </a:xfrm>
            <a:custGeom>
              <a:avLst/>
              <a:gdLst>
                <a:gd name="T0" fmla="*/ 0 w 1572"/>
                <a:gd name="T1" fmla="*/ 1099 h 1511"/>
                <a:gd name="T2" fmla="*/ 50 w 1572"/>
                <a:gd name="T3" fmla="*/ 1106 h 1511"/>
                <a:gd name="T4" fmla="*/ 146 w 1572"/>
                <a:gd name="T5" fmla="*/ 1129 h 1511"/>
                <a:gd name="T6" fmla="*/ 238 w 1572"/>
                <a:gd name="T7" fmla="*/ 1164 h 1511"/>
                <a:gd name="T8" fmla="*/ 325 w 1572"/>
                <a:gd name="T9" fmla="*/ 1208 h 1511"/>
                <a:gd name="T10" fmla="*/ 406 w 1572"/>
                <a:gd name="T11" fmla="*/ 1261 h 1511"/>
                <a:gd name="T12" fmla="*/ 478 w 1572"/>
                <a:gd name="T13" fmla="*/ 1324 h 1511"/>
                <a:gd name="T14" fmla="*/ 544 w 1572"/>
                <a:gd name="T15" fmla="*/ 1394 h 1511"/>
                <a:gd name="T16" fmla="*/ 603 w 1572"/>
                <a:gd name="T17" fmla="*/ 1470 h 1511"/>
                <a:gd name="T18" fmla="*/ 628 w 1572"/>
                <a:gd name="T19" fmla="*/ 1511 h 1511"/>
                <a:gd name="T20" fmla="*/ 1245 w 1572"/>
                <a:gd name="T21" fmla="*/ 1495 h 1511"/>
                <a:gd name="T22" fmla="*/ 1572 w 1572"/>
                <a:gd name="T23" fmla="*/ 958 h 1511"/>
                <a:gd name="T24" fmla="*/ 1542 w 1572"/>
                <a:gd name="T25" fmla="*/ 906 h 1511"/>
                <a:gd name="T26" fmla="*/ 1476 w 1572"/>
                <a:gd name="T27" fmla="*/ 809 h 1511"/>
                <a:gd name="T28" fmla="*/ 1404 w 1572"/>
                <a:gd name="T29" fmla="*/ 716 h 1511"/>
                <a:gd name="T30" fmla="*/ 1327 w 1572"/>
                <a:gd name="T31" fmla="*/ 626 h 1511"/>
                <a:gd name="T32" fmla="*/ 1245 w 1572"/>
                <a:gd name="T33" fmla="*/ 542 h 1511"/>
                <a:gd name="T34" fmla="*/ 1157 w 1572"/>
                <a:gd name="T35" fmla="*/ 463 h 1511"/>
                <a:gd name="T36" fmla="*/ 1065 w 1572"/>
                <a:gd name="T37" fmla="*/ 389 h 1511"/>
                <a:gd name="T38" fmla="*/ 969 w 1572"/>
                <a:gd name="T39" fmla="*/ 320 h 1511"/>
                <a:gd name="T40" fmla="*/ 870 w 1572"/>
                <a:gd name="T41" fmla="*/ 258 h 1511"/>
                <a:gd name="T42" fmla="*/ 765 w 1572"/>
                <a:gd name="T43" fmla="*/ 202 h 1511"/>
                <a:gd name="T44" fmla="*/ 657 w 1572"/>
                <a:gd name="T45" fmla="*/ 152 h 1511"/>
                <a:gd name="T46" fmla="*/ 544 w 1572"/>
                <a:gd name="T47" fmla="*/ 109 h 1511"/>
                <a:gd name="T48" fmla="*/ 430 w 1572"/>
                <a:gd name="T49" fmla="*/ 71 h 1511"/>
                <a:gd name="T50" fmla="*/ 312 w 1572"/>
                <a:gd name="T51" fmla="*/ 42 h 1511"/>
                <a:gd name="T52" fmla="*/ 192 w 1572"/>
                <a:gd name="T53" fmla="*/ 20 h 1511"/>
                <a:gd name="T54" fmla="*/ 69 w 1572"/>
                <a:gd name="T55" fmla="*/ 5 h 1511"/>
                <a:gd name="T56" fmla="*/ 6 w 1572"/>
                <a:gd name="T57" fmla="*/ 0 h 1511"/>
                <a:gd name="T58" fmla="*/ 303 w 1572"/>
                <a:gd name="T59" fmla="*/ 541 h 1511"/>
                <a:gd name="T60" fmla="*/ 0 w 1572"/>
                <a:gd name="T61" fmla="*/ 1099 h 1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72" h="1511">
                  <a:moveTo>
                    <a:pt x="0" y="1099"/>
                  </a:moveTo>
                  <a:lnTo>
                    <a:pt x="50" y="1106"/>
                  </a:lnTo>
                  <a:lnTo>
                    <a:pt x="146" y="1129"/>
                  </a:lnTo>
                  <a:lnTo>
                    <a:pt x="238" y="1164"/>
                  </a:lnTo>
                  <a:lnTo>
                    <a:pt x="325" y="1208"/>
                  </a:lnTo>
                  <a:lnTo>
                    <a:pt x="406" y="1261"/>
                  </a:lnTo>
                  <a:lnTo>
                    <a:pt x="478" y="1324"/>
                  </a:lnTo>
                  <a:lnTo>
                    <a:pt x="544" y="1394"/>
                  </a:lnTo>
                  <a:lnTo>
                    <a:pt x="603" y="1470"/>
                  </a:lnTo>
                  <a:lnTo>
                    <a:pt x="628" y="1511"/>
                  </a:lnTo>
                  <a:lnTo>
                    <a:pt x="1245" y="1495"/>
                  </a:lnTo>
                  <a:lnTo>
                    <a:pt x="1572" y="958"/>
                  </a:lnTo>
                  <a:lnTo>
                    <a:pt x="1542" y="906"/>
                  </a:lnTo>
                  <a:lnTo>
                    <a:pt x="1476" y="809"/>
                  </a:lnTo>
                  <a:lnTo>
                    <a:pt x="1404" y="716"/>
                  </a:lnTo>
                  <a:lnTo>
                    <a:pt x="1327" y="626"/>
                  </a:lnTo>
                  <a:lnTo>
                    <a:pt x="1245" y="542"/>
                  </a:lnTo>
                  <a:lnTo>
                    <a:pt x="1157" y="463"/>
                  </a:lnTo>
                  <a:lnTo>
                    <a:pt x="1065" y="389"/>
                  </a:lnTo>
                  <a:lnTo>
                    <a:pt x="969" y="320"/>
                  </a:lnTo>
                  <a:lnTo>
                    <a:pt x="870" y="258"/>
                  </a:lnTo>
                  <a:lnTo>
                    <a:pt x="765" y="202"/>
                  </a:lnTo>
                  <a:lnTo>
                    <a:pt x="657" y="152"/>
                  </a:lnTo>
                  <a:lnTo>
                    <a:pt x="544" y="109"/>
                  </a:lnTo>
                  <a:lnTo>
                    <a:pt x="430" y="71"/>
                  </a:lnTo>
                  <a:lnTo>
                    <a:pt x="312" y="42"/>
                  </a:lnTo>
                  <a:lnTo>
                    <a:pt x="192" y="20"/>
                  </a:lnTo>
                  <a:lnTo>
                    <a:pt x="69" y="5"/>
                  </a:lnTo>
                  <a:lnTo>
                    <a:pt x="6" y="0"/>
                  </a:lnTo>
                  <a:lnTo>
                    <a:pt x="303" y="541"/>
                  </a:lnTo>
                  <a:lnTo>
                    <a:pt x="0" y="1099"/>
                  </a:lnTo>
                  <a:close/>
                </a:path>
              </a:pathLst>
            </a:custGeom>
            <a:solidFill>
              <a:srgbClr val="DCDEE3">
                <a:alpha val="50196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400" b="1">
                <a:solidFill>
                  <a:schemeClr val="bg1"/>
                </a:solidFill>
              </a:endParaRPr>
            </a:p>
          </p:txBody>
        </p:sp>
        <p:sp>
          <p:nvSpPr>
            <p:cNvPr id="24" name="Freeform 1166">
              <a:extLst>
                <a:ext uri="{FF2B5EF4-FFF2-40B4-BE49-F238E27FC236}">
                  <a16:creationId xmlns:a16="http://schemas.microsoft.com/office/drawing/2014/main" id="{10862174-32D0-7ED5-17AE-9A7A5F981C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1461" y="1238239"/>
              <a:ext cx="2346228" cy="1760900"/>
            </a:xfrm>
            <a:custGeom>
              <a:avLst/>
              <a:gdLst>
                <a:gd name="T0" fmla="*/ 943 w 1905"/>
                <a:gd name="T1" fmla="*/ 1432 h 1432"/>
                <a:gd name="T2" fmla="*/ 972 w 1905"/>
                <a:gd name="T3" fmla="*/ 1394 h 1432"/>
                <a:gd name="T4" fmla="*/ 1037 w 1905"/>
                <a:gd name="T5" fmla="*/ 1326 h 1432"/>
                <a:gd name="T6" fmla="*/ 1109 w 1905"/>
                <a:gd name="T7" fmla="*/ 1265 h 1432"/>
                <a:gd name="T8" fmla="*/ 1188 w 1905"/>
                <a:gd name="T9" fmla="*/ 1211 h 1432"/>
                <a:gd name="T10" fmla="*/ 1272 w 1905"/>
                <a:gd name="T11" fmla="*/ 1167 h 1432"/>
                <a:gd name="T12" fmla="*/ 1362 w 1905"/>
                <a:gd name="T13" fmla="*/ 1134 h 1432"/>
                <a:gd name="T14" fmla="*/ 1457 w 1905"/>
                <a:gd name="T15" fmla="*/ 1109 h 1432"/>
                <a:gd name="T16" fmla="*/ 1555 w 1905"/>
                <a:gd name="T17" fmla="*/ 1096 h 1432"/>
                <a:gd name="T18" fmla="*/ 1606 w 1905"/>
                <a:gd name="T19" fmla="*/ 1095 h 1432"/>
                <a:gd name="T20" fmla="*/ 1905 w 1905"/>
                <a:gd name="T21" fmla="*/ 544 h 1432"/>
                <a:gd name="T22" fmla="*/ 1607 w 1905"/>
                <a:gd name="T23" fmla="*/ 0 h 1432"/>
                <a:gd name="T24" fmla="*/ 1543 w 1905"/>
                <a:gd name="T25" fmla="*/ 1 h 1432"/>
                <a:gd name="T26" fmla="*/ 1420 w 1905"/>
                <a:gd name="T27" fmla="*/ 10 h 1432"/>
                <a:gd name="T28" fmla="*/ 1298 w 1905"/>
                <a:gd name="T29" fmla="*/ 26 h 1432"/>
                <a:gd name="T30" fmla="*/ 1179 w 1905"/>
                <a:gd name="T31" fmla="*/ 50 h 1432"/>
                <a:gd name="T32" fmla="*/ 1062 w 1905"/>
                <a:gd name="T33" fmla="*/ 80 h 1432"/>
                <a:gd name="T34" fmla="*/ 950 w 1905"/>
                <a:gd name="T35" fmla="*/ 119 h 1432"/>
                <a:gd name="T36" fmla="*/ 840 w 1905"/>
                <a:gd name="T37" fmla="*/ 163 h 1432"/>
                <a:gd name="T38" fmla="*/ 733 w 1905"/>
                <a:gd name="T39" fmla="*/ 213 h 1432"/>
                <a:gd name="T40" fmla="*/ 630 w 1905"/>
                <a:gd name="T41" fmla="*/ 270 h 1432"/>
                <a:gd name="T42" fmla="*/ 531 w 1905"/>
                <a:gd name="T43" fmla="*/ 333 h 1432"/>
                <a:gd name="T44" fmla="*/ 436 w 1905"/>
                <a:gd name="T45" fmla="*/ 401 h 1432"/>
                <a:gd name="T46" fmla="*/ 346 w 1905"/>
                <a:gd name="T47" fmla="*/ 475 h 1432"/>
                <a:gd name="T48" fmla="*/ 260 w 1905"/>
                <a:gd name="T49" fmla="*/ 556 h 1432"/>
                <a:gd name="T50" fmla="*/ 179 w 1905"/>
                <a:gd name="T51" fmla="*/ 639 h 1432"/>
                <a:gd name="T52" fmla="*/ 103 w 1905"/>
                <a:gd name="T53" fmla="*/ 728 h 1432"/>
                <a:gd name="T54" fmla="*/ 32 w 1905"/>
                <a:gd name="T55" fmla="*/ 821 h 1432"/>
                <a:gd name="T56" fmla="*/ 0 w 1905"/>
                <a:gd name="T57" fmla="*/ 871 h 1432"/>
                <a:gd name="T58" fmla="*/ 606 w 1905"/>
                <a:gd name="T59" fmla="*/ 884 h 1432"/>
                <a:gd name="T60" fmla="*/ 943 w 1905"/>
                <a:gd name="T61" fmla="*/ 1432 h 1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905" h="1432">
                  <a:moveTo>
                    <a:pt x="943" y="1432"/>
                  </a:moveTo>
                  <a:lnTo>
                    <a:pt x="972" y="1394"/>
                  </a:lnTo>
                  <a:lnTo>
                    <a:pt x="1037" y="1326"/>
                  </a:lnTo>
                  <a:lnTo>
                    <a:pt x="1109" y="1265"/>
                  </a:lnTo>
                  <a:lnTo>
                    <a:pt x="1188" y="1211"/>
                  </a:lnTo>
                  <a:lnTo>
                    <a:pt x="1272" y="1167"/>
                  </a:lnTo>
                  <a:lnTo>
                    <a:pt x="1362" y="1134"/>
                  </a:lnTo>
                  <a:lnTo>
                    <a:pt x="1457" y="1109"/>
                  </a:lnTo>
                  <a:lnTo>
                    <a:pt x="1555" y="1096"/>
                  </a:lnTo>
                  <a:lnTo>
                    <a:pt x="1606" y="1095"/>
                  </a:lnTo>
                  <a:lnTo>
                    <a:pt x="1905" y="544"/>
                  </a:lnTo>
                  <a:lnTo>
                    <a:pt x="1607" y="0"/>
                  </a:lnTo>
                  <a:lnTo>
                    <a:pt x="1543" y="1"/>
                  </a:lnTo>
                  <a:lnTo>
                    <a:pt x="1420" y="10"/>
                  </a:lnTo>
                  <a:lnTo>
                    <a:pt x="1298" y="26"/>
                  </a:lnTo>
                  <a:lnTo>
                    <a:pt x="1179" y="50"/>
                  </a:lnTo>
                  <a:lnTo>
                    <a:pt x="1062" y="80"/>
                  </a:lnTo>
                  <a:lnTo>
                    <a:pt x="950" y="119"/>
                  </a:lnTo>
                  <a:lnTo>
                    <a:pt x="840" y="163"/>
                  </a:lnTo>
                  <a:lnTo>
                    <a:pt x="733" y="213"/>
                  </a:lnTo>
                  <a:lnTo>
                    <a:pt x="630" y="270"/>
                  </a:lnTo>
                  <a:lnTo>
                    <a:pt x="531" y="333"/>
                  </a:lnTo>
                  <a:lnTo>
                    <a:pt x="436" y="401"/>
                  </a:lnTo>
                  <a:lnTo>
                    <a:pt x="346" y="475"/>
                  </a:lnTo>
                  <a:lnTo>
                    <a:pt x="260" y="556"/>
                  </a:lnTo>
                  <a:lnTo>
                    <a:pt x="179" y="639"/>
                  </a:lnTo>
                  <a:lnTo>
                    <a:pt x="103" y="728"/>
                  </a:lnTo>
                  <a:lnTo>
                    <a:pt x="32" y="821"/>
                  </a:lnTo>
                  <a:lnTo>
                    <a:pt x="0" y="871"/>
                  </a:lnTo>
                  <a:lnTo>
                    <a:pt x="606" y="884"/>
                  </a:lnTo>
                  <a:lnTo>
                    <a:pt x="943" y="1432"/>
                  </a:lnTo>
                  <a:close/>
                </a:path>
              </a:pathLst>
            </a:custGeom>
            <a:solidFill>
              <a:srgbClr val="3FBE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48640" tIns="45720" rIns="91440" bIns="45720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400" b="1"/>
            </a:p>
          </p:txBody>
        </p:sp>
        <p:sp>
          <p:nvSpPr>
            <p:cNvPr id="25" name="Freeform 1167">
              <a:extLst>
                <a:ext uri="{FF2B5EF4-FFF2-40B4-BE49-F238E27FC236}">
                  <a16:creationId xmlns:a16="http://schemas.microsoft.com/office/drawing/2014/main" id="{68AF1929-0041-97A3-5540-68FBFE28AB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3044" y="2438405"/>
              <a:ext cx="1480535" cy="2247854"/>
            </a:xfrm>
            <a:custGeom>
              <a:avLst/>
              <a:gdLst>
                <a:gd name="T0" fmla="*/ 1158 w 1201"/>
                <a:gd name="T1" fmla="*/ 1290 h 1826"/>
                <a:gd name="T2" fmla="*/ 1144 w 1201"/>
                <a:gd name="T3" fmla="*/ 1252 h 1826"/>
                <a:gd name="T4" fmla="*/ 1119 w 1201"/>
                <a:gd name="T5" fmla="*/ 1174 h 1826"/>
                <a:gd name="T6" fmla="*/ 1104 w 1201"/>
                <a:gd name="T7" fmla="*/ 1093 h 1826"/>
                <a:gd name="T8" fmla="*/ 1095 w 1201"/>
                <a:gd name="T9" fmla="*/ 1010 h 1826"/>
                <a:gd name="T10" fmla="*/ 1095 w 1201"/>
                <a:gd name="T11" fmla="*/ 967 h 1826"/>
                <a:gd name="T12" fmla="*/ 1096 w 1201"/>
                <a:gd name="T13" fmla="*/ 911 h 1826"/>
                <a:gd name="T14" fmla="*/ 1110 w 1201"/>
                <a:gd name="T15" fmla="*/ 802 h 1826"/>
                <a:gd name="T16" fmla="*/ 1138 w 1201"/>
                <a:gd name="T17" fmla="*/ 698 h 1826"/>
                <a:gd name="T18" fmla="*/ 1177 w 1201"/>
                <a:gd name="T19" fmla="*/ 601 h 1826"/>
                <a:gd name="T20" fmla="*/ 1201 w 1201"/>
                <a:gd name="T21" fmla="*/ 555 h 1826"/>
                <a:gd name="T22" fmla="*/ 869 w 1201"/>
                <a:gd name="T23" fmla="*/ 13 h 1826"/>
                <a:gd name="T24" fmla="*/ 258 w 1201"/>
                <a:gd name="T25" fmla="*/ 0 h 1826"/>
                <a:gd name="T26" fmla="*/ 228 w 1201"/>
                <a:gd name="T27" fmla="*/ 53 h 1826"/>
                <a:gd name="T28" fmla="*/ 173 w 1201"/>
                <a:gd name="T29" fmla="*/ 164 h 1826"/>
                <a:gd name="T30" fmla="*/ 125 w 1201"/>
                <a:gd name="T31" fmla="*/ 279 h 1826"/>
                <a:gd name="T32" fmla="*/ 85 w 1201"/>
                <a:gd name="T33" fmla="*/ 398 h 1826"/>
                <a:gd name="T34" fmla="*/ 51 w 1201"/>
                <a:gd name="T35" fmla="*/ 520 h 1826"/>
                <a:gd name="T36" fmla="*/ 27 w 1201"/>
                <a:gd name="T37" fmla="*/ 644 h 1826"/>
                <a:gd name="T38" fmla="*/ 10 w 1201"/>
                <a:gd name="T39" fmla="*/ 771 h 1826"/>
                <a:gd name="T40" fmla="*/ 1 w 1201"/>
                <a:gd name="T41" fmla="*/ 901 h 1826"/>
                <a:gd name="T42" fmla="*/ 0 w 1201"/>
                <a:gd name="T43" fmla="*/ 967 h 1826"/>
                <a:gd name="T44" fmla="*/ 1 w 1201"/>
                <a:gd name="T45" fmla="*/ 1024 h 1826"/>
                <a:gd name="T46" fmla="*/ 7 w 1201"/>
                <a:gd name="T47" fmla="*/ 1138 h 1826"/>
                <a:gd name="T48" fmla="*/ 20 w 1201"/>
                <a:gd name="T49" fmla="*/ 1251 h 1826"/>
                <a:gd name="T50" fmla="*/ 40 w 1201"/>
                <a:gd name="T51" fmla="*/ 1361 h 1826"/>
                <a:gd name="T52" fmla="*/ 66 w 1201"/>
                <a:gd name="T53" fmla="*/ 1468 h 1826"/>
                <a:gd name="T54" fmla="*/ 97 w 1201"/>
                <a:gd name="T55" fmla="*/ 1573 h 1826"/>
                <a:gd name="T56" fmla="*/ 134 w 1201"/>
                <a:gd name="T57" fmla="*/ 1677 h 1826"/>
                <a:gd name="T58" fmla="*/ 176 w 1201"/>
                <a:gd name="T59" fmla="*/ 1777 h 1826"/>
                <a:gd name="T60" fmla="*/ 201 w 1201"/>
                <a:gd name="T61" fmla="*/ 1826 h 1826"/>
                <a:gd name="T62" fmla="*/ 514 w 1201"/>
                <a:gd name="T63" fmla="*/ 1306 h 1826"/>
                <a:gd name="T64" fmla="*/ 1158 w 1201"/>
                <a:gd name="T65" fmla="*/ 1290 h 1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01" h="1826">
                  <a:moveTo>
                    <a:pt x="1158" y="1290"/>
                  </a:moveTo>
                  <a:lnTo>
                    <a:pt x="1144" y="1252"/>
                  </a:lnTo>
                  <a:lnTo>
                    <a:pt x="1119" y="1174"/>
                  </a:lnTo>
                  <a:lnTo>
                    <a:pt x="1104" y="1093"/>
                  </a:lnTo>
                  <a:lnTo>
                    <a:pt x="1095" y="1010"/>
                  </a:lnTo>
                  <a:lnTo>
                    <a:pt x="1095" y="967"/>
                  </a:lnTo>
                  <a:lnTo>
                    <a:pt x="1096" y="911"/>
                  </a:lnTo>
                  <a:lnTo>
                    <a:pt x="1110" y="802"/>
                  </a:lnTo>
                  <a:lnTo>
                    <a:pt x="1138" y="698"/>
                  </a:lnTo>
                  <a:lnTo>
                    <a:pt x="1177" y="601"/>
                  </a:lnTo>
                  <a:lnTo>
                    <a:pt x="1201" y="555"/>
                  </a:lnTo>
                  <a:lnTo>
                    <a:pt x="869" y="13"/>
                  </a:lnTo>
                  <a:lnTo>
                    <a:pt x="258" y="0"/>
                  </a:lnTo>
                  <a:lnTo>
                    <a:pt x="228" y="53"/>
                  </a:lnTo>
                  <a:lnTo>
                    <a:pt x="173" y="164"/>
                  </a:lnTo>
                  <a:lnTo>
                    <a:pt x="125" y="279"/>
                  </a:lnTo>
                  <a:lnTo>
                    <a:pt x="85" y="398"/>
                  </a:lnTo>
                  <a:lnTo>
                    <a:pt x="51" y="520"/>
                  </a:lnTo>
                  <a:lnTo>
                    <a:pt x="27" y="644"/>
                  </a:lnTo>
                  <a:lnTo>
                    <a:pt x="10" y="771"/>
                  </a:lnTo>
                  <a:lnTo>
                    <a:pt x="1" y="901"/>
                  </a:lnTo>
                  <a:lnTo>
                    <a:pt x="0" y="967"/>
                  </a:lnTo>
                  <a:lnTo>
                    <a:pt x="1" y="1024"/>
                  </a:lnTo>
                  <a:lnTo>
                    <a:pt x="7" y="1138"/>
                  </a:lnTo>
                  <a:lnTo>
                    <a:pt x="20" y="1251"/>
                  </a:lnTo>
                  <a:lnTo>
                    <a:pt x="40" y="1361"/>
                  </a:lnTo>
                  <a:lnTo>
                    <a:pt x="66" y="1468"/>
                  </a:lnTo>
                  <a:lnTo>
                    <a:pt x="97" y="1573"/>
                  </a:lnTo>
                  <a:lnTo>
                    <a:pt x="134" y="1677"/>
                  </a:lnTo>
                  <a:lnTo>
                    <a:pt x="176" y="1777"/>
                  </a:lnTo>
                  <a:lnTo>
                    <a:pt x="201" y="1826"/>
                  </a:lnTo>
                  <a:lnTo>
                    <a:pt x="514" y="1306"/>
                  </a:lnTo>
                  <a:lnTo>
                    <a:pt x="1158" y="1290"/>
                  </a:lnTo>
                  <a:close/>
                </a:path>
              </a:pathLst>
            </a:custGeom>
            <a:solidFill>
              <a:srgbClr val="3FBE80">
                <a:alpha val="89804"/>
              </a:srgbClr>
            </a:solidFill>
            <a:ln w="57150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365760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400" b="1"/>
            </a:p>
          </p:txBody>
        </p:sp>
        <p:sp>
          <p:nvSpPr>
            <p:cNvPr id="26" name="Freeform 1168">
              <a:extLst>
                <a:ext uri="{FF2B5EF4-FFF2-40B4-BE49-F238E27FC236}">
                  <a16:creationId xmlns:a16="http://schemas.microsoft.com/office/drawing/2014/main" id="{1E6412E1-2386-4C9A-A5CE-6AC7FBBCD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2762" y="4159956"/>
              <a:ext cx="1923219" cy="1854357"/>
            </a:xfrm>
            <a:custGeom>
              <a:avLst/>
              <a:gdLst>
                <a:gd name="T0" fmla="*/ 1564 w 1564"/>
                <a:gd name="T1" fmla="*/ 411 h 1510"/>
                <a:gd name="T2" fmla="*/ 1516 w 1564"/>
                <a:gd name="T3" fmla="*/ 403 h 1510"/>
                <a:gd name="T4" fmla="*/ 1422 w 1564"/>
                <a:gd name="T5" fmla="*/ 379 h 1510"/>
                <a:gd name="T6" fmla="*/ 1332 w 1564"/>
                <a:gd name="T7" fmla="*/ 344 h 1510"/>
                <a:gd name="T8" fmla="*/ 1248 w 1564"/>
                <a:gd name="T9" fmla="*/ 298 h 1510"/>
                <a:gd name="T10" fmla="*/ 1170 w 1564"/>
                <a:gd name="T11" fmla="*/ 245 h 1510"/>
                <a:gd name="T12" fmla="*/ 1099 w 1564"/>
                <a:gd name="T13" fmla="*/ 184 h 1510"/>
                <a:gd name="T14" fmla="*/ 1034 w 1564"/>
                <a:gd name="T15" fmla="*/ 115 h 1510"/>
                <a:gd name="T16" fmla="*/ 977 w 1564"/>
                <a:gd name="T17" fmla="*/ 40 h 1510"/>
                <a:gd name="T18" fmla="*/ 953 w 1564"/>
                <a:gd name="T19" fmla="*/ 0 h 1510"/>
                <a:gd name="T20" fmla="*/ 317 w 1564"/>
                <a:gd name="T21" fmla="*/ 17 h 1510"/>
                <a:gd name="T22" fmla="*/ 0 w 1564"/>
                <a:gd name="T23" fmla="*/ 539 h 1510"/>
                <a:gd name="T24" fmla="*/ 30 w 1564"/>
                <a:gd name="T25" fmla="*/ 591 h 1510"/>
                <a:gd name="T26" fmla="*/ 96 w 1564"/>
                <a:gd name="T27" fmla="*/ 690 h 1510"/>
                <a:gd name="T28" fmla="*/ 166 w 1564"/>
                <a:gd name="T29" fmla="*/ 783 h 1510"/>
                <a:gd name="T30" fmla="*/ 242 w 1564"/>
                <a:gd name="T31" fmla="*/ 874 h 1510"/>
                <a:gd name="T32" fmla="*/ 324 w 1564"/>
                <a:gd name="T33" fmla="*/ 958 h 1510"/>
                <a:gd name="T34" fmla="*/ 411 w 1564"/>
                <a:gd name="T35" fmla="*/ 1038 h 1510"/>
                <a:gd name="T36" fmla="*/ 501 w 1564"/>
                <a:gd name="T37" fmla="*/ 1112 h 1510"/>
                <a:gd name="T38" fmla="*/ 597 w 1564"/>
                <a:gd name="T39" fmla="*/ 1181 h 1510"/>
                <a:gd name="T40" fmla="*/ 697 w 1564"/>
                <a:gd name="T41" fmla="*/ 1244 h 1510"/>
                <a:gd name="T42" fmla="*/ 801 w 1564"/>
                <a:gd name="T43" fmla="*/ 1301 h 1510"/>
                <a:gd name="T44" fmla="*/ 908 w 1564"/>
                <a:gd name="T45" fmla="*/ 1353 h 1510"/>
                <a:gd name="T46" fmla="*/ 1020 w 1564"/>
                <a:gd name="T47" fmla="*/ 1397 h 1510"/>
                <a:gd name="T48" fmla="*/ 1134 w 1564"/>
                <a:gd name="T49" fmla="*/ 1435 h 1510"/>
                <a:gd name="T50" fmla="*/ 1252 w 1564"/>
                <a:gd name="T51" fmla="*/ 1466 h 1510"/>
                <a:gd name="T52" fmla="*/ 1371 w 1564"/>
                <a:gd name="T53" fmla="*/ 1489 h 1510"/>
                <a:gd name="T54" fmla="*/ 1494 w 1564"/>
                <a:gd name="T55" fmla="*/ 1505 h 1510"/>
                <a:gd name="T56" fmla="*/ 1557 w 1564"/>
                <a:gd name="T57" fmla="*/ 1510 h 1510"/>
                <a:gd name="T58" fmla="*/ 1261 w 1564"/>
                <a:gd name="T59" fmla="*/ 971 h 1510"/>
                <a:gd name="T60" fmla="*/ 1564 w 1564"/>
                <a:gd name="T61" fmla="*/ 411 h 1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64" h="1510">
                  <a:moveTo>
                    <a:pt x="1564" y="411"/>
                  </a:moveTo>
                  <a:lnTo>
                    <a:pt x="1516" y="403"/>
                  </a:lnTo>
                  <a:lnTo>
                    <a:pt x="1422" y="379"/>
                  </a:lnTo>
                  <a:lnTo>
                    <a:pt x="1332" y="344"/>
                  </a:lnTo>
                  <a:lnTo>
                    <a:pt x="1248" y="298"/>
                  </a:lnTo>
                  <a:lnTo>
                    <a:pt x="1170" y="245"/>
                  </a:lnTo>
                  <a:lnTo>
                    <a:pt x="1099" y="184"/>
                  </a:lnTo>
                  <a:lnTo>
                    <a:pt x="1034" y="115"/>
                  </a:lnTo>
                  <a:lnTo>
                    <a:pt x="977" y="40"/>
                  </a:lnTo>
                  <a:lnTo>
                    <a:pt x="953" y="0"/>
                  </a:lnTo>
                  <a:lnTo>
                    <a:pt x="317" y="17"/>
                  </a:lnTo>
                  <a:lnTo>
                    <a:pt x="0" y="539"/>
                  </a:lnTo>
                  <a:lnTo>
                    <a:pt x="30" y="591"/>
                  </a:lnTo>
                  <a:lnTo>
                    <a:pt x="96" y="690"/>
                  </a:lnTo>
                  <a:lnTo>
                    <a:pt x="166" y="783"/>
                  </a:lnTo>
                  <a:lnTo>
                    <a:pt x="242" y="874"/>
                  </a:lnTo>
                  <a:lnTo>
                    <a:pt x="324" y="958"/>
                  </a:lnTo>
                  <a:lnTo>
                    <a:pt x="411" y="1038"/>
                  </a:lnTo>
                  <a:lnTo>
                    <a:pt x="501" y="1112"/>
                  </a:lnTo>
                  <a:lnTo>
                    <a:pt x="597" y="1181"/>
                  </a:lnTo>
                  <a:lnTo>
                    <a:pt x="697" y="1244"/>
                  </a:lnTo>
                  <a:lnTo>
                    <a:pt x="801" y="1301"/>
                  </a:lnTo>
                  <a:lnTo>
                    <a:pt x="908" y="1353"/>
                  </a:lnTo>
                  <a:lnTo>
                    <a:pt x="1020" y="1397"/>
                  </a:lnTo>
                  <a:lnTo>
                    <a:pt x="1134" y="1435"/>
                  </a:lnTo>
                  <a:lnTo>
                    <a:pt x="1252" y="1466"/>
                  </a:lnTo>
                  <a:lnTo>
                    <a:pt x="1371" y="1489"/>
                  </a:lnTo>
                  <a:lnTo>
                    <a:pt x="1494" y="1505"/>
                  </a:lnTo>
                  <a:lnTo>
                    <a:pt x="1557" y="1510"/>
                  </a:lnTo>
                  <a:lnTo>
                    <a:pt x="1261" y="971"/>
                  </a:lnTo>
                  <a:lnTo>
                    <a:pt x="1564" y="411"/>
                  </a:lnTo>
                  <a:close/>
                </a:path>
              </a:pathLst>
            </a:custGeom>
            <a:solidFill>
              <a:srgbClr val="3FBE80">
                <a:alpha val="69804"/>
              </a:srgbClr>
            </a:solidFill>
            <a:ln w="57150">
              <a:solidFill>
                <a:schemeClr val="accent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400" b="1">
                <a:solidFill>
                  <a:schemeClr val="bg1"/>
                </a:solidFill>
              </a:endParaRPr>
            </a:p>
          </p:txBody>
        </p:sp>
        <p:sp>
          <p:nvSpPr>
            <p:cNvPr id="27" name="Freeform 1169">
              <a:extLst>
                <a:ext uri="{FF2B5EF4-FFF2-40B4-BE49-F238E27FC236}">
                  <a16:creationId xmlns:a16="http://schemas.microsoft.com/office/drawing/2014/main" id="{A60E2D3F-227E-32F9-2278-9D65F500D77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4637" y="4273088"/>
              <a:ext cx="2365903" cy="1746145"/>
            </a:xfrm>
            <a:custGeom>
              <a:avLst/>
              <a:gdLst>
                <a:gd name="T0" fmla="*/ 970 w 1922"/>
                <a:gd name="T1" fmla="*/ 0 h 1419"/>
                <a:gd name="T2" fmla="*/ 940 w 1922"/>
                <a:gd name="T3" fmla="*/ 36 h 1419"/>
                <a:gd name="T4" fmla="*/ 874 w 1922"/>
                <a:gd name="T5" fmla="*/ 103 h 1419"/>
                <a:gd name="T6" fmla="*/ 800 w 1922"/>
                <a:gd name="T7" fmla="*/ 163 h 1419"/>
                <a:gd name="T8" fmla="*/ 721 w 1922"/>
                <a:gd name="T9" fmla="*/ 214 h 1419"/>
                <a:gd name="T10" fmla="*/ 635 w 1922"/>
                <a:gd name="T11" fmla="*/ 256 h 1419"/>
                <a:gd name="T12" fmla="*/ 546 w 1922"/>
                <a:gd name="T13" fmla="*/ 289 h 1419"/>
                <a:gd name="T14" fmla="*/ 451 w 1922"/>
                <a:gd name="T15" fmla="*/ 312 h 1419"/>
                <a:gd name="T16" fmla="*/ 353 w 1922"/>
                <a:gd name="T17" fmla="*/ 324 h 1419"/>
                <a:gd name="T18" fmla="*/ 301 w 1922"/>
                <a:gd name="T19" fmla="*/ 325 h 1419"/>
                <a:gd name="T20" fmla="*/ 298 w 1922"/>
                <a:gd name="T21" fmla="*/ 324 h 1419"/>
                <a:gd name="T22" fmla="*/ 0 w 1922"/>
                <a:gd name="T23" fmla="*/ 875 h 1419"/>
                <a:gd name="T24" fmla="*/ 298 w 1922"/>
                <a:gd name="T25" fmla="*/ 1419 h 1419"/>
                <a:gd name="T26" fmla="*/ 301 w 1922"/>
                <a:gd name="T27" fmla="*/ 1419 h 1419"/>
                <a:gd name="T28" fmla="*/ 364 w 1922"/>
                <a:gd name="T29" fmla="*/ 1418 h 1419"/>
                <a:gd name="T30" fmla="*/ 490 w 1922"/>
                <a:gd name="T31" fmla="*/ 1410 h 1419"/>
                <a:gd name="T32" fmla="*/ 612 w 1922"/>
                <a:gd name="T33" fmla="*/ 1394 h 1419"/>
                <a:gd name="T34" fmla="*/ 732 w 1922"/>
                <a:gd name="T35" fmla="*/ 1371 h 1419"/>
                <a:gd name="T36" fmla="*/ 849 w 1922"/>
                <a:gd name="T37" fmla="*/ 1341 h 1419"/>
                <a:gd name="T38" fmla="*/ 964 w 1922"/>
                <a:gd name="T39" fmla="*/ 1304 h 1419"/>
                <a:gd name="T40" fmla="*/ 1075 w 1922"/>
                <a:gd name="T41" fmla="*/ 1260 h 1419"/>
                <a:gd name="T42" fmla="*/ 1182 w 1922"/>
                <a:gd name="T43" fmla="*/ 1209 h 1419"/>
                <a:gd name="T44" fmla="*/ 1287 w 1922"/>
                <a:gd name="T45" fmla="*/ 1152 h 1419"/>
                <a:gd name="T46" fmla="*/ 1387 w 1922"/>
                <a:gd name="T47" fmla="*/ 1088 h 1419"/>
                <a:gd name="T48" fmla="*/ 1482 w 1922"/>
                <a:gd name="T49" fmla="*/ 1020 h 1419"/>
                <a:gd name="T50" fmla="*/ 1574 w 1922"/>
                <a:gd name="T51" fmla="*/ 946 h 1419"/>
                <a:gd name="T52" fmla="*/ 1660 w 1922"/>
                <a:gd name="T53" fmla="*/ 866 h 1419"/>
                <a:gd name="T54" fmla="*/ 1742 w 1922"/>
                <a:gd name="T55" fmla="*/ 781 h 1419"/>
                <a:gd name="T56" fmla="*/ 1819 w 1922"/>
                <a:gd name="T57" fmla="*/ 692 h 1419"/>
                <a:gd name="T58" fmla="*/ 1889 w 1922"/>
                <a:gd name="T59" fmla="*/ 597 h 1419"/>
                <a:gd name="T60" fmla="*/ 1922 w 1922"/>
                <a:gd name="T61" fmla="*/ 549 h 1419"/>
                <a:gd name="T62" fmla="*/ 1298 w 1922"/>
                <a:gd name="T63" fmla="*/ 535 h 1419"/>
                <a:gd name="T64" fmla="*/ 970 w 1922"/>
                <a:gd name="T65" fmla="*/ 0 h 1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22" h="1419">
                  <a:moveTo>
                    <a:pt x="970" y="0"/>
                  </a:moveTo>
                  <a:lnTo>
                    <a:pt x="940" y="36"/>
                  </a:lnTo>
                  <a:lnTo>
                    <a:pt x="874" y="103"/>
                  </a:lnTo>
                  <a:lnTo>
                    <a:pt x="800" y="163"/>
                  </a:lnTo>
                  <a:lnTo>
                    <a:pt x="721" y="214"/>
                  </a:lnTo>
                  <a:lnTo>
                    <a:pt x="635" y="256"/>
                  </a:lnTo>
                  <a:lnTo>
                    <a:pt x="546" y="289"/>
                  </a:lnTo>
                  <a:lnTo>
                    <a:pt x="451" y="312"/>
                  </a:lnTo>
                  <a:lnTo>
                    <a:pt x="353" y="324"/>
                  </a:lnTo>
                  <a:lnTo>
                    <a:pt x="301" y="325"/>
                  </a:lnTo>
                  <a:lnTo>
                    <a:pt x="298" y="324"/>
                  </a:lnTo>
                  <a:lnTo>
                    <a:pt x="0" y="875"/>
                  </a:lnTo>
                  <a:lnTo>
                    <a:pt x="298" y="1419"/>
                  </a:lnTo>
                  <a:lnTo>
                    <a:pt x="301" y="1419"/>
                  </a:lnTo>
                  <a:lnTo>
                    <a:pt x="364" y="1418"/>
                  </a:lnTo>
                  <a:lnTo>
                    <a:pt x="490" y="1410"/>
                  </a:lnTo>
                  <a:lnTo>
                    <a:pt x="612" y="1394"/>
                  </a:lnTo>
                  <a:lnTo>
                    <a:pt x="732" y="1371"/>
                  </a:lnTo>
                  <a:lnTo>
                    <a:pt x="849" y="1341"/>
                  </a:lnTo>
                  <a:lnTo>
                    <a:pt x="964" y="1304"/>
                  </a:lnTo>
                  <a:lnTo>
                    <a:pt x="1075" y="1260"/>
                  </a:lnTo>
                  <a:lnTo>
                    <a:pt x="1182" y="1209"/>
                  </a:lnTo>
                  <a:lnTo>
                    <a:pt x="1287" y="1152"/>
                  </a:lnTo>
                  <a:lnTo>
                    <a:pt x="1387" y="1088"/>
                  </a:lnTo>
                  <a:lnTo>
                    <a:pt x="1482" y="1020"/>
                  </a:lnTo>
                  <a:lnTo>
                    <a:pt x="1574" y="946"/>
                  </a:lnTo>
                  <a:lnTo>
                    <a:pt x="1660" y="866"/>
                  </a:lnTo>
                  <a:lnTo>
                    <a:pt x="1742" y="781"/>
                  </a:lnTo>
                  <a:lnTo>
                    <a:pt x="1819" y="692"/>
                  </a:lnTo>
                  <a:lnTo>
                    <a:pt x="1889" y="597"/>
                  </a:lnTo>
                  <a:lnTo>
                    <a:pt x="1922" y="549"/>
                  </a:lnTo>
                  <a:lnTo>
                    <a:pt x="1298" y="535"/>
                  </a:lnTo>
                  <a:lnTo>
                    <a:pt x="970" y="0"/>
                  </a:lnTo>
                  <a:close/>
                </a:path>
              </a:pathLst>
            </a:custGeom>
            <a:solidFill>
              <a:srgbClr val="DCDEE3">
                <a:alpha val="50196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457200" bIns="45720" numCol="1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400" b="1">
                <a:solidFill>
                  <a:schemeClr val="bg1"/>
                </a:solidFill>
              </a:endParaRPr>
            </a:p>
          </p:txBody>
        </p:sp>
      </p:grpSp>
      <p:sp>
        <p:nvSpPr>
          <p:cNvPr id="15" name="Tekstvak 14">
            <a:extLst>
              <a:ext uri="{FF2B5EF4-FFF2-40B4-BE49-F238E27FC236}">
                <a16:creationId xmlns:a16="http://schemas.microsoft.com/office/drawing/2014/main" id="{27C50237-3C1C-405F-286A-0FAD9411D05E}"/>
              </a:ext>
            </a:extLst>
          </p:cNvPr>
          <p:cNvSpPr txBox="1"/>
          <p:nvPr/>
        </p:nvSpPr>
        <p:spPr>
          <a:xfrm>
            <a:off x="6299406" y="1686899"/>
            <a:ext cx="240517" cy="3411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1</a:t>
            </a:r>
          </a:p>
        </p:txBody>
      </p:sp>
      <p:pic>
        <p:nvPicPr>
          <p:cNvPr id="16" name="Picture 8" descr="BCG matrix Icon - Free PNG &amp; SVG 628628 - Noun Project">
            <a:extLst>
              <a:ext uri="{FF2B5EF4-FFF2-40B4-BE49-F238E27FC236}">
                <a16:creationId xmlns:a16="http://schemas.microsoft.com/office/drawing/2014/main" id="{138AB948-54D2-5620-393E-385D0C783C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015" b="31025"/>
          <a:stretch/>
        </p:blipFill>
        <p:spPr bwMode="auto">
          <a:xfrm>
            <a:off x="6458350" y="1070999"/>
            <a:ext cx="670439" cy="557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kstvak 16">
            <a:extLst>
              <a:ext uri="{FF2B5EF4-FFF2-40B4-BE49-F238E27FC236}">
                <a16:creationId xmlns:a16="http://schemas.microsoft.com/office/drawing/2014/main" id="{08C01EC7-38A4-5F8B-44BC-95FA2F94934B}"/>
              </a:ext>
            </a:extLst>
          </p:cNvPr>
          <p:cNvSpPr txBox="1"/>
          <p:nvPr/>
        </p:nvSpPr>
        <p:spPr>
          <a:xfrm>
            <a:off x="6694743" y="2778269"/>
            <a:ext cx="240517" cy="3411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2</a:t>
            </a:r>
          </a:p>
        </p:txBody>
      </p:sp>
      <p:pic>
        <p:nvPicPr>
          <p:cNvPr id="18" name="Picture 16" descr="Analysis - Free business and finance icons">
            <a:extLst>
              <a:ext uri="{FF2B5EF4-FFF2-40B4-BE49-F238E27FC236}">
                <a16:creationId xmlns:a16="http://schemas.microsoft.com/office/drawing/2014/main" id="{14E562B2-01A1-0BEB-B0B4-0F903B500D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3779" y="2864180"/>
            <a:ext cx="495120" cy="495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6" descr="Data collection Special Lineal icon">
            <a:extLst>
              <a:ext uri="{FF2B5EF4-FFF2-40B4-BE49-F238E27FC236}">
                <a16:creationId xmlns:a16="http://schemas.microsoft.com/office/drawing/2014/main" id="{8C5F9BF5-9618-B21E-4907-44ABCE2C20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1490" y="4234832"/>
            <a:ext cx="495120" cy="495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" descr="Data Conversion Icons - Free SVG &amp; PNG Data Conversion Images - Noun Project">
            <a:extLst>
              <a:ext uri="{FF2B5EF4-FFF2-40B4-BE49-F238E27FC236}">
                <a16:creationId xmlns:a16="http://schemas.microsoft.com/office/drawing/2014/main" id="{E201AAF2-35FE-4193-F927-4636D4D86A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8414" y="3870726"/>
            <a:ext cx="501645" cy="501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Our Corporate Social Responsibility - Punch Powertrain">
            <a:extLst>
              <a:ext uri="{FF2B5EF4-FFF2-40B4-BE49-F238E27FC236}">
                <a16:creationId xmlns:a16="http://schemas.microsoft.com/office/drawing/2014/main" id="{A52A35A6-ACA6-601B-D25B-FF2704113D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9809" y="1877575"/>
            <a:ext cx="2161309" cy="1872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kstvak 27">
            <a:extLst>
              <a:ext uri="{FF2B5EF4-FFF2-40B4-BE49-F238E27FC236}">
                <a16:creationId xmlns:a16="http://schemas.microsoft.com/office/drawing/2014/main" id="{6BDE7D82-5E23-AEC3-0B7C-37B8C59B8A9A}"/>
              </a:ext>
            </a:extLst>
          </p:cNvPr>
          <p:cNvSpPr txBox="1"/>
          <p:nvPr/>
        </p:nvSpPr>
        <p:spPr>
          <a:xfrm>
            <a:off x="5985800" y="3681406"/>
            <a:ext cx="240517" cy="3411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r>
              <a:rPr lang="en-GB" sz="2800" b="1">
                <a:solidFill>
                  <a:srgbClr val="FFFFFF"/>
                </a:solidFill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3</a:t>
            </a:r>
            <a:endParaRPr kumimoji="0" lang="en-GB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9" name="Tekstvak 28">
            <a:extLst>
              <a:ext uri="{FF2B5EF4-FFF2-40B4-BE49-F238E27FC236}">
                <a16:creationId xmlns:a16="http://schemas.microsoft.com/office/drawing/2014/main" id="{4DBC2D9D-A51B-CFA8-83A4-25442F70BA6E}"/>
              </a:ext>
            </a:extLst>
          </p:cNvPr>
          <p:cNvSpPr txBox="1"/>
          <p:nvPr/>
        </p:nvSpPr>
        <p:spPr>
          <a:xfrm>
            <a:off x="4736671" y="3507315"/>
            <a:ext cx="240517" cy="3411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4</a:t>
            </a:r>
          </a:p>
        </p:txBody>
      </p:sp>
      <p:sp>
        <p:nvSpPr>
          <p:cNvPr id="30" name="Tekstvak 29">
            <a:extLst>
              <a:ext uri="{FF2B5EF4-FFF2-40B4-BE49-F238E27FC236}">
                <a16:creationId xmlns:a16="http://schemas.microsoft.com/office/drawing/2014/main" id="{0686A743-9ED7-D426-EB5D-27D5B3A12171}"/>
              </a:ext>
            </a:extLst>
          </p:cNvPr>
          <p:cNvSpPr txBox="1"/>
          <p:nvPr/>
        </p:nvSpPr>
        <p:spPr>
          <a:xfrm>
            <a:off x="4314053" y="2362203"/>
            <a:ext cx="240517" cy="3411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r>
              <a:rPr lang="en-GB" sz="2800" b="1">
                <a:solidFill>
                  <a:srgbClr val="FFFFFF"/>
                </a:solidFill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5</a:t>
            </a:r>
            <a:endParaRPr kumimoji="0" lang="en-GB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" name="Tekstvak 30">
            <a:extLst>
              <a:ext uri="{FF2B5EF4-FFF2-40B4-BE49-F238E27FC236}">
                <a16:creationId xmlns:a16="http://schemas.microsoft.com/office/drawing/2014/main" id="{56486130-AAC6-ECE0-D213-4F4BF4FFBBB5}"/>
              </a:ext>
            </a:extLst>
          </p:cNvPr>
          <p:cNvSpPr txBox="1"/>
          <p:nvPr/>
        </p:nvSpPr>
        <p:spPr>
          <a:xfrm>
            <a:off x="5123037" y="1474257"/>
            <a:ext cx="240517" cy="3411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6</a:t>
            </a:r>
          </a:p>
        </p:txBody>
      </p:sp>
      <p:pic>
        <p:nvPicPr>
          <p:cNvPr id="32" name="Picture 2" descr="Dashboard - Free seo and web icons">
            <a:extLst>
              <a:ext uri="{FF2B5EF4-FFF2-40B4-BE49-F238E27FC236}">
                <a16:creationId xmlns:a16="http://schemas.microsoft.com/office/drawing/2014/main" id="{C0DA4244-D5AB-161B-CDEB-BEC514D3D1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3120" y="2279280"/>
            <a:ext cx="544632" cy="544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" descr="Road map Icons &amp; Symbols">
            <a:extLst>
              <a:ext uri="{FF2B5EF4-FFF2-40B4-BE49-F238E27FC236}">
                <a16:creationId xmlns:a16="http://schemas.microsoft.com/office/drawing/2014/main" id="{78F6ED34-29B4-5BA4-55B9-C45F6E2B5F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alphaModFix/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9211" y="869727"/>
            <a:ext cx="522558" cy="522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56DEC25C-CC52-8A98-B1A8-2023CF842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688" y="6119725"/>
            <a:ext cx="431800" cy="360362"/>
          </a:xfrm>
        </p:spPr>
        <p:txBody>
          <a:bodyPr/>
          <a:lstStyle/>
          <a:p>
            <a:pPr marL="0" marR="0" lvl="0" indent="0" algn="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82D01A-ED25-4F30-894A-E32B487BCBA5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F4F6F8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pPr marL="0" marR="0" lvl="0" indent="0" algn="r" defTabSz="86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F4F6F8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CB98EDAB-E1F6-52A9-1317-17060493599A}"/>
              </a:ext>
            </a:extLst>
          </p:cNvPr>
          <p:cNvSpPr/>
          <p:nvPr/>
        </p:nvSpPr>
        <p:spPr>
          <a:xfrm>
            <a:off x="244" y="5804413"/>
            <a:ext cx="11520488" cy="67558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err="1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58CA5E6-DC62-9BB7-3D30-5EA373599F88}"/>
              </a:ext>
            </a:extLst>
          </p:cNvPr>
          <p:cNvSpPr txBox="1">
            <a:spLocks/>
          </p:cNvSpPr>
          <p:nvPr/>
        </p:nvSpPr>
        <p:spPr>
          <a:xfrm>
            <a:off x="125479" y="5917710"/>
            <a:ext cx="10296239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BeYOND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555549B9-DEC0-FC42-CDEB-B3E4DB3B30B5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8" name="Picture 2" descr="Nationale Coalitie Duurzame Digitalisering">
            <a:extLst>
              <a:ext uri="{FF2B5EF4-FFF2-40B4-BE49-F238E27FC236}">
                <a16:creationId xmlns:a16="http://schemas.microsoft.com/office/drawing/2014/main" id="{F5035268-9C4F-53A9-2281-9D66F28381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4268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33073BA-6013-1AF3-7218-93A97C22B9DF}"/>
              </a:ext>
            </a:extLst>
          </p:cNvPr>
          <p:cNvSpPr/>
          <p:nvPr/>
        </p:nvSpPr>
        <p:spPr>
          <a:xfrm>
            <a:off x="-17020" y="-8079"/>
            <a:ext cx="4694828" cy="5812403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3"/>
              </a:buClr>
            </a:pPr>
            <a:endParaRPr lang="en-GB" sz="900" err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TextBox 80">
            <a:extLst>
              <a:ext uri="{FF2B5EF4-FFF2-40B4-BE49-F238E27FC236}">
                <a16:creationId xmlns:a16="http://schemas.microsoft.com/office/drawing/2014/main" id="{E4B56F38-D319-1E33-83EB-0F04349BE264}"/>
              </a:ext>
            </a:extLst>
          </p:cNvPr>
          <p:cNvSpPr txBox="1"/>
          <p:nvPr/>
        </p:nvSpPr>
        <p:spPr>
          <a:xfrm>
            <a:off x="108680" y="798736"/>
            <a:ext cx="4489227" cy="3708708"/>
          </a:xfrm>
          <a:prstGeom prst="rect">
            <a:avLst/>
          </a:prstGeom>
          <a:noFill/>
        </p:spPr>
        <p:txBody>
          <a:bodyPr wrap="square" lIns="0" tIns="45720" rIns="91440" bIns="45720" rtlCol="0" anchor="t">
            <a:spAutoFit/>
          </a:bodyPr>
          <a:lstStyle/>
          <a:p>
            <a:pPr marR="0" lvl="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b="1" kern="0" noProof="1">
                <a:solidFill>
                  <a:srgbClr val="F3FBF7"/>
                </a:solidFill>
                <a:latin typeface="Montserrat"/>
              </a:rPr>
              <a:t>STAP 4:</a:t>
            </a:r>
          </a:p>
          <a:p>
            <a:pPr marR="0" lvl="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800" b="1" kern="0" noProof="1">
                <a:solidFill>
                  <a:srgbClr val="F3FBF7"/>
                </a:solidFill>
                <a:latin typeface="Montserrat"/>
              </a:rPr>
              <a:t>Berekening &amp; conversie</a:t>
            </a:r>
            <a:br>
              <a:rPr lang="en-US" sz="1800" b="1" kern="0" noProof="1">
                <a:latin typeface="Montserrat" panose="00000500000000000000" pitchFamily="2" charset="0"/>
              </a:rPr>
            </a:br>
            <a:endParaRPr lang="nl-NL" sz="900" kern="0" noProof="1">
              <a:solidFill>
                <a:srgbClr val="F3FBF7"/>
              </a:solidFill>
              <a:highlight>
                <a:srgbClr val="0000FF"/>
              </a:highlight>
              <a:latin typeface="Montserrat" panose="00000500000000000000" pitchFamily="2" charset="0"/>
            </a:endParaRPr>
          </a:p>
          <a:p>
            <a:pPr marL="285750" indent="-285750" defTabSz="914354">
              <a:buFont typeface="Arial" panose="020B0604020202020204" pitchFamily="34" charset="0"/>
              <a:buChar char="•"/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</a:rPr>
              <a:t>Conversie van operationele data naar vereiste datapunten en eenheden</a:t>
            </a:r>
          </a:p>
          <a:p>
            <a:pPr marL="285750" indent="-285750" defTabSz="914354">
              <a:buFont typeface="Arial" panose="020B0604020202020204" pitchFamily="34" charset="0"/>
              <a:buChar char="•"/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</a:rPr>
              <a:t>Aanleggen van paper trail, die controleerbaar is voor de accountant (data lineage) </a:t>
            </a:r>
          </a:p>
          <a:p>
            <a:pPr marL="285750" indent="-285750" defTabSz="914354">
              <a:buFont typeface="Arial" panose="020B0604020202020204" pitchFamily="34" charset="0"/>
              <a:buChar char="•"/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</a:rPr>
              <a:t>Aansluiting bij onderliggende protocollen van de CSRD, zoals GHG protocol </a:t>
            </a:r>
          </a:p>
          <a:p>
            <a:pPr marL="285750" indent="-285750" defTabSz="914354">
              <a:buFont typeface="Arial" panose="020B0604020202020204" pitchFamily="34" charset="0"/>
              <a:buChar char="•"/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</a:rPr>
              <a:t>Toepassen van tools (rekenmachine) voor de berekeningen conform de ESRS.</a:t>
            </a:r>
          </a:p>
          <a:p>
            <a:pPr marL="285750" indent="-285750" defTabSz="914354">
              <a:buFont typeface="Arial" panose="020B0604020202020204" pitchFamily="34" charset="0"/>
              <a:buChar char="•"/>
              <a:defRPr/>
            </a:pPr>
            <a:r>
              <a:rPr lang="nl-NL" sz="1400" kern="0" noProof="1">
                <a:solidFill>
                  <a:srgbClr val="F3FBF7"/>
                </a:solidFill>
                <a:latin typeface="Montserrat"/>
              </a:rPr>
              <a:t>Kies een Rekenmachine/ tool die al eerder een audit doorstaan heeft, zodat de tool zelf niet geaudit hoeft te worden. </a:t>
            </a:r>
            <a:endParaRPr lang="en-US" sz="1400" kern="0" noProof="1">
              <a:solidFill>
                <a:srgbClr val="F3FBF7"/>
              </a:solidFill>
              <a:latin typeface="Montserrat"/>
            </a:endParaRP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1B3EB25F-BE7F-951D-9EF4-C3A9A49BE8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688" y="6119725"/>
            <a:ext cx="431800" cy="360362"/>
          </a:xfrm>
        </p:spPr>
        <p:txBody>
          <a:bodyPr/>
          <a:lstStyle/>
          <a:p>
            <a:pPr marL="0" marR="0" lvl="0" indent="0" algn="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82D01A-ED25-4F30-894A-E32B487BCBA5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F4F6F8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pPr marL="0" marR="0" lvl="0" indent="0" algn="r" defTabSz="86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F4F6F8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768905B4-47D3-EFA3-8F15-6AB34FE50D78}"/>
              </a:ext>
            </a:extLst>
          </p:cNvPr>
          <p:cNvSpPr/>
          <p:nvPr/>
        </p:nvSpPr>
        <p:spPr>
          <a:xfrm>
            <a:off x="244" y="5804413"/>
            <a:ext cx="11520488" cy="67558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err="1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00D643F-6CF5-1131-994D-9C010BB51220}"/>
              </a:ext>
            </a:extLst>
          </p:cNvPr>
          <p:cNvSpPr txBox="1">
            <a:spLocks/>
          </p:cNvSpPr>
          <p:nvPr/>
        </p:nvSpPr>
        <p:spPr>
          <a:xfrm>
            <a:off x="125479" y="5917710"/>
            <a:ext cx="10296239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BeYOND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1DABBA09-B20A-86AC-9E76-4CA54846AE1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5" name="Picture 2" descr="Nationale Coalitie Duurzame Digitalisering">
            <a:extLst>
              <a:ext uri="{FF2B5EF4-FFF2-40B4-BE49-F238E27FC236}">
                <a16:creationId xmlns:a16="http://schemas.microsoft.com/office/drawing/2014/main" id="{EF1BDCDB-61C9-E448-AF7F-82F341DE03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65094C1E-3DB6-D624-4AC9-F99F26B8E3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65846" y="1450577"/>
            <a:ext cx="6854642" cy="3131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082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3FBF7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28FD387-4AD0-DEC6-C2ED-C8584C3B8C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1" name="Tekstvak 1060">
            <a:extLst>
              <a:ext uri="{FF2B5EF4-FFF2-40B4-BE49-F238E27FC236}">
                <a16:creationId xmlns:a16="http://schemas.microsoft.com/office/drawing/2014/main" id="{A5CDC40E-1205-D852-EE5A-B8AF4CAE06DC}"/>
              </a:ext>
            </a:extLst>
          </p:cNvPr>
          <p:cNvSpPr txBox="1"/>
          <p:nvPr/>
        </p:nvSpPr>
        <p:spPr>
          <a:xfrm>
            <a:off x="2881357" y="3038865"/>
            <a:ext cx="58006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64017">
              <a:defRPr/>
            </a:pPr>
            <a:r>
              <a:rPr lang="en-US" sz="1800" b="1" kern="0" noProof="1">
                <a:solidFill>
                  <a:srgbClr val="00BCE2"/>
                </a:solidFill>
                <a:latin typeface="Montserrat" panose="00000500000000000000" pitchFamily="2" charset="0"/>
              </a:rPr>
              <a:t> </a:t>
            </a:r>
            <a:endParaRPr lang="en-GB" sz="1800">
              <a:solidFill>
                <a:srgbClr val="555C6B"/>
              </a:solidFill>
              <a:latin typeface="Calibri"/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44F3197B-EFE5-6963-D365-B379D6B7B36D}"/>
              </a:ext>
            </a:extLst>
          </p:cNvPr>
          <p:cNvSpPr/>
          <p:nvPr/>
        </p:nvSpPr>
        <p:spPr>
          <a:xfrm>
            <a:off x="-16932" y="-8028"/>
            <a:ext cx="11537333" cy="1295991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9" tIns="35999" rIns="35999" bIns="359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  <a:defRPr/>
            </a:pPr>
            <a:endParaRPr lang="en-GB" sz="90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TextBox 80">
            <a:extLst>
              <a:ext uri="{FF2B5EF4-FFF2-40B4-BE49-F238E27FC236}">
                <a16:creationId xmlns:a16="http://schemas.microsoft.com/office/drawing/2014/main" id="{0E1768D4-3225-6CE5-D533-366F3FE039FF}"/>
              </a:ext>
            </a:extLst>
          </p:cNvPr>
          <p:cNvSpPr txBox="1"/>
          <p:nvPr/>
        </p:nvSpPr>
        <p:spPr>
          <a:xfrm>
            <a:off x="291663" y="480484"/>
            <a:ext cx="8992387" cy="861774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 defTabSz="914343">
              <a:defRPr/>
            </a:pPr>
            <a:r>
              <a:rPr lang="en-US" sz="1600" b="1" kern="0" noProof="1">
                <a:solidFill>
                  <a:srgbClr val="F3FBF7"/>
                </a:solidFill>
                <a:latin typeface="Montserrat"/>
              </a:rPr>
              <a:t>Stap 4:</a:t>
            </a:r>
            <a:br>
              <a:rPr lang="en-US" sz="1800" b="1" kern="0" noProof="1">
                <a:latin typeface="Montserrat" panose="00000500000000000000" pitchFamily="2" charset="0"/>
              </a:rPr>
            </a:br>
            <a:r>
              <a:rPr lang="en-US" sz="3400" b="1" kern="0" noProof="1">
                <a:solidFill>
                  <a:srgbClr val="F3FBF7"/>
                </a:solidFill>
                <a:latin typeface="Montserrat"/>
              </a:rPr>
              <a:t>Berekening &amp; conversie </a:t>
            </a:r>
            <a:endParaRPr lang="nl-NL" sz="3400">
              <a:latin typeface="Montserrat"/>
            </a:endParaRPr>
          </a:p>
        </p:txBody>
      </p:sp>
      <p:sp>
        <p:nvSpPr>
          <p:cNvPr id="12" name="TextBox 80">
            <a:extLst>
              <a:ext uri="{FF2B5EF4-FFF2-40B4-BE49-F238E27FC236}">
                <a16:creationId xmlns:a16="http://schemas.microsoft.com/office/drawing/2014/main" id="{85C9F68E-9ED6-A519-CCD5-3D41F5044036}"/>
              </a:ext>
            </a:extLst>
          </p:cNvPr>
          <p:cNvSpPr txBox="1"/>
          <p:nvPr/>
        </p:nvSpPr>
        <p:spPr>
          <a:xfrm>
            <a:off x="234606" y="1835528"/>
            <a:ext cx="3972936" cy="3100785"/>
          </a:xfrm>
          <a:prstGeom prst="rect">
            <a:avLst/>
          </a:prstGeom>
          <a:noFill/>
        </p:spPr>
        <p:txBody>
          <a:bodyPr wrap="square" lIns="0" rtlCol="0" anchor="t">
            <a:spAutoFit/>
          </a:bodyPr>
          <a:lstStyle/>
          <a:p>
            <a:pPr marL="270005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12" b="1" kern="0" noProof="1">
                <a:solidFill>
                  <a:srgbClr val="236B47"/>
                </a:solidFill>
                <a:latin typeface="Montserrat" panose="00000500000000000000" pitchFamily="2" charset="0"/>
              </a:rPr>
              <a:t>ESRS </a:t>
            </a:r>
            <a:r>
              <a:rPr lang="en-US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bepaalt het rapportage formaat</a:t>
            </a:r>
          </a:p>
          <a:p>
            <a:pPr marL="270005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Voorbeeld:</a:t>
            </a:r>
          </a:p>
          <a:p>
            <a:pPr marL="701984" lvl="1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Rapportage-eis: </a:t>
            </a:r>
            <a:r>
              <a:rPr lang="en-US" sz="1512" b="1" kern="0" noProof="1">
                <a:solidFill>
                  <a:srgbClr val="236B47"/>
                </a:solidFill>
                <a:latin typeface="Montserrat" panose="00000500000000000000" pitchFamily="2" charset="0"/>
              </a:rPr>
              <a:t>ESRS E1-6 Bruto scope 1-, 2- en 3-emissies en totale broeikasgasemissies</a:t>
            </a:r>
          </a:p>
          <a:p>
            <a:pPr marL="701984" lvl="1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Datapunten: </a:t>
            </a:r>
            <a:endParaRPr lang="en-US" sz="1512" b="1" kern="0" noProof="1">
              <a:solidFill>
                <a:srgbClr val="236B47"/>
              </a:solidFill>
              <a:latin typeface="Montserrat" panose="00000500000000000000" pitchFamily="2" charset="0"/>
            </a:endParaRPr>
          </a:p>
          <a:p>
            <a:pPr marL="1133964" lvl="2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12" b="1" kern="0" noProof="1">
                <a:solidFill>
                  <a:srgbClr val="236B47"/>
                </a:solidFill>
                <a:latin typeface="Montserrat" panose="00000500000000000000" pitchFamily="2" charset="0"/>
              </a:rPr>
              <a:t>Bruto scope 1-emissies</a:t>
            </a:r>
          </a:p>
          <a:p>
            <a:pPr marL="1133964" lvl="2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12" b="1" kern="0" noProof="1">
                <a:solidFill>
                  <a:srgbClr val="236B47"/>
                </a:solidFill>
                <a:latin typeface="Montserrat" panose="00000500000000000000" pitchFamily="2" charset="0"/>
              </a:rPr>
              <a:t>Bruto scope 2-emissies</a:t>
            </a:r>
          </a:p>
          <a:p>
            <a:pPr marL="1133964" lvl="2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12" b="1" kern="0" noProof="1">
                <a:solidFill>
                  <a:srgbClr val="236B47"/>
                </a:solidFill>
                <a:latin typeface="Montserrat" panose="00000500000000000000" pitchFamily="2" charset="0"/>
              </a:rPr>
              <a:t>Mijlpalen</a:t>
            </a:r>
            <a:r>
              <a:rPr lang="en-US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 in 2030 </a:t>
            </a:r>
          </a:p>
          <a:p>
            <a:pPr marL="1133964" lvl="2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Etc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592CF64-BE72-D077-7144-CADC453CC9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73540" y="1367509"/>
            <a:ext cx="4269749" cy="4381783"/>
          </a:xfrm>
          <a:prstGeom prst="rect">
            <a:avLst/>
          </a:prstGeom>
        </p:spPr>
      </p:pic>
      <p:sp>
        <p:nvSpPr>
          <p:cNvPr id="19" name="Tijdelijke aanduiding voor dianummer 1">
            <a:extLst>
              <a:ext uri="{FF2B5EF4-FFF2-40B4-BE49-F238E27FC236}">
                <a16:creationId xmlns:a16="http://schemas.microsoft.com/office/drawing/2014/main" id="{31BF4C47-1508-9751-5C1F-3DB264719D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688" y="6119725"/>
            <a:ext cx="431800" cy="360362"/>
          </a:xfrm>
        </p:spPr>
        <p:txBody>
          <a:bodyPr/>
          <a:lstStyle/>
          <a:p>
            <a:pPr marL="0" marR="0" lvl="0" indent="0" algn="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82D01A-ED25-4F30-894A-E32B487BCBA5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F4F6F8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pPr marL="0" marR="0" lvl="0" indent="0" algn="r" defTabSz="86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F4F6F8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22" name="Rechthoek 21">
            <a:extLst>
              <a:ext uri="{FF2B5EF4-FFF2-40B4-BE49-F238E27FC236}">
                <a16:creationId xmlns:a16="http://schemas.microsoft.com/office/drawing/2014/main" id="{AB0FDAD2-7246-4CC8-8456-1A666C656845}"/>
              </a:ext>
            </a:extLst>
          </p:cNvPr>
          <p:cNvSpPr/>
          <p:nvPr/>
        </p:nvSpPr>
        <p:spPr>
          <a:xfrm>
            <a:off x="244" y="5804413"/>
            <a:ext cx="11520488" cy="67558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err="1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89B055B8-F8A2-CA48-3921-1C2FDA51B056}"/>
              </a:ext>
            </a:extLst>
          </p:cNvPr>
          <p:cNvSpPr txBox="1">
            <a:spLocks/>
          </p:cNvSpPr>
          <p:nvPr/>
        </p:nvSpPr>
        <p:spPr>
          <a:xfrm>
            <a:off x="125479" y="5917710"/>
            <a:ext cx="10296239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BeYOND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DA645952-A2E7-CBEE-8D71-9129F8AF26A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5" name="Picture 2" descr="Nationale Coalitie Duurzame Digitalisering">
            <a:extLst>
              <a:ext uri="{FF2B5EF4-FFF2-40B4-BE49-F238E27FC236}">
                <a16:creationId xmlns:a16="http://schemas.microsoft.com/office/drawing/2014/main" id="{0B04F153-38AB-F00E-122F-B23780FC2B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5738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3FBF7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5078430-A0D8-624F-C57F-187D97FC37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1" name="Tekstvak 1060">
            <a:extLst>
              <a:ext uri="{FF2B5EF4-FFF2-40B4-BE49-F238E27FC236}">
                <a16:creationId xmlns:a16="http://schemas.microsoft.com/office/drawing/2014/main" id="{697DB2E2-E8C2-5B85-7708-AF0876FDB0F0}"/>
              </a:ext>
            </a:extLst>
          </p:cNvPr>
          <p:cNvSpPr txBox="1"/>
          <p:nvPr/>
        </p:nvSpPr>
        <p:spPr>
          <a:xfrm>
            <a:off x="2881357" y="3038865"/>
            <a:ext cx="58006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64017">
              <a:defRPr/>
            </a:pPr>
            <a:r>
              <a:rPr lang="en-US" sz="1800" b="1" kern="0" noProof="1">
                <a:solidFill>
                  <a:srgbClr val="00BCE2"/>
                </a:solidFill>
                <a:latin typeface="Montserrat" panose="00000500000000000000" pitchFamily="2" charset="0"/>
              </a:rPr>
              <a:t> </a:t>
            </a:r>
            <a:endParaRPr lang="en-GB" sz="1800">
              <a:solidFill>
                <a:srgbClr val="555C6B"/>
              </a:solidFill>
              <a:latin typeface="Calibri"/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C5729CD5-62DC-51D3-A1F6-5331D37E83C9}"/>
              </a:ext>
            </a:extLst>
          </p:cNvPr>
          <p:cNvSpPr/>
          <p:nvPr/>
        </p:nvSpPr>
        <p:spPr>
          <a:xfrm>
            <a:off x="-16932" y="-8028"/>
            <a:ext cx="11537333" cy="1295991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9" tIns="35999" rIns="35999" bIns="359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  <a:defRPr/>
            </a:pPr>
            <a:endParaRPr lang="en-GB" sz="90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TextBox 80">
            <a:extLst>
              <a:ext uri="{FF2B5EF4-FFF2-40B4-BE49-F238E27FC236}">
                <a16:creationId xmlns:a16="http://schemas.microsoft.com/office/drawing/2014/main" id="{D2460C05-70F9-E112-81CE-3FC34B5F567C}"/>
              </a:ext>
            </a:extLst>
          </p:cNvPr>
          <p:cNvSpPr txBox="1"/>
          <p:nvPr/>
        </p:nvSpPr>
        <p:spPr>
          <a:xfrm>
            <a:off x="234606" y="1718990"/>
            <a:ext cx="3972936" cy="4095673"/>
          </a:xfrm>
          <a:prstGeom prst="rect">
            <a:avLst/>
          </a:prstGeom>
          <a:noFill/>
        </p:spPr>
        <p:txBody>
          <a:bodyPr wrap="square" lIns="0" rtlCol="0" anchor="t">
            <a:spAutoFit/>
          </a:bodyPr>
          <a:lstStyle/>
          <a:p>
            <a:pPr marL="270005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12" b="1" kern="0" noProof="1">
                <a:solidFill>
                  <a:srgbClr val="236B47"/>
                </a:solidFill>
                <a:latin typeface="Montserrat" panose="00000500000000000000" pitchFamily="2" charset="0"/>
              </a:rPr>
              <a:t>ESRS </a:t>
            </a:r>
            <a:r>
              <a:rPr lang="en-US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omvat niet alleen backward looking maar ook forward looking.</a:t>
            </a:r>
          </a:p>
          <a:p>
            <a:pPr marL="270005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Scenario doorrekenen voor de reductielijne</a:t>
            </a:r>
          </a:p>
          <a:p>
            <a:pPr marL="270005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Voorbeeld:</a:t>
            </a:r>
          </a:p>
          <a:p>
            <a:pPr marL="701984" lvl="1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Rapportage-eis: </a:t>
            </a:r>
            <a:r>
              <a:rPr lang="en-US" sz="1512" b="1" kern="0" noProof="1">
                <a:solidFill>
                  <a:srgbClr val="236B47"/>
                </a:solidFill>
                <a:latin typeface="Montserrat" panose="00000500000000000000" pitchFamily="2" charset="0"/>
              </a:rPr>
              <a:t>ESRS E1-4 </a:t>
            </a:r>
            <a:r>
              <a:rPr lang="nl-NL" sz="1512" b="1" kern="0" noProof="1">
                <a:solidFill>
                  <a:srgbClr val="236B47"/>
                </a:solidFill>
                <a:latin typeface="Montserrat" panose="00000500000000000000" pitchFamily="2" charset="0"/>
              </a:rPr>
              <a:t>Doelen inzake klimaatmitigatie en klimaatadaptatie</a:t>
            </a:r>
            <a:endParaRPr lang="en-US" sz="1512" b="1" kern="0" noProof="1">
              <a:solidFill>
                <a:srgbClr val="236B47"/>
              </a:solidFill>
              <a:latin typeface="Montserrat" panose="00000500000000000000" pitchFamily="2" charset="0"/>
            </a:endParaRPr>
          </a:p>
          <a:p>
            <a:pPr marL="701984" lvl="1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Datapunten: </a:t>
            </a:r>
            <a:endParaRPr lang="en-US" sz="1512" b="1" kern="0" noProof="1">
              <a:solidFill>
                <a:srgbClr val="236B47"/>
              </a:solidFill>
              <a:latin typeface="Montserrat" panose="00000500000000000000" pitchFamily="2" charset="0"/>
            </a:endParaRPr>
          </a:p>
          <a:p>
            <a:pPr marL="1133964" lvl="2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12" b="1" kern="0" noProof="1">
                <a:solidFill>
                  <a:srgbClr val="236B47"/>
                </a:solidFill>
                <a:latin typeface="Montserrat" panose="00000500000000000000" pitchFamily="2" charset="0"/>
              </a:rPr>
              <a:t>Doelwaarde</a:t>
            </a:r>
          </a:p>
          <a:p>
            <a:pPr marL="1133964" lvl="2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12" b="1" kern="0" noProof="1">
                <a:solidFill>
                  <a:srgbClr val="236B47"/>
                </a:solidFill>
                <a:latin typeface="Montserrat" panose="00000500000000000000" pitchFamily="2" charset="0"/>
              </a:rPr>
              <a:t>Reducties </a:t>
            </a:r>
            <a:r>
              <a:rPr lang="en-US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binnen eigen </a:t>
            </a:r>
            <a:r>
              <a:rPr lang="en-US" sz="1512" b="1" kern="0" noProof="1">
                <a:solidFill>
                  <a:srgbClr val="236B47"/>
                </a:solidFill>
                <a:latin typeface="Montserrat" panose="00000500000000000000" pitchFamily="2" charset="0"/>
              </a:rPr>
              <a:t>activiteiten</a:t>
            </a:r>
          </a:p>
          <a:p>
            <a:pPr marL="1133964" lvl="2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12" b="1" kern="0" noProof="1">
                <a:solidFill>
                  <a:srgbClr val="236B47"/>
                </a:solidFill>
                <a:latin typeface="Montserrat" panose="00000500000000000000" pitchFamily="2" charset="0"/>
              </a:rPr>
              <a:t>Reducties </a:t>
            </a:r>
            <a:r>
              <a:rPr lang="en-US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binnen </a:t>
            </a:r>
            <a:r>
              <a:rPr lang="en-US" sz="1512" b="1" kern="0" noProof="1">
                <a:solidFill>
                  <a:srgbClr val="236B47"/>
                </a:solidFill>
                <a:latin typeface="Montserrat" panose="00000500000000000000" pitchFamily="2" charset="0"/>
              </a:rPr>
              <a:t>waardeketen</a:t>
            </a:r>
          </a:p>
          <a:p>
            <a:pPr marL="1133964" lvl="2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Etc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8188265-70D8-8B83-6A34-94510A7982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7856" y="1808524"/>
            <a:ext cx="6446790" cy="2972166"/>
          </a:xfrm>
          <a:prstGeom prst="rect">
            <a:avLst/>
          </a:prstGeom>
        </p:spPr>
      </p:pic>
      <p:sp>
        <p:nvSpPr>
          <p:cNvPr id="5" name="TextBox 80">
            <a:extLst>
              <a:ext uri="{FF2B5EF4-FFF2-40B4-BE49-F238E27FC236}">
                <a16:creationId xmlns:a16="http://schemas.microsoft.com/office/drawing/2014/main" id="{2210F029-2F26-1694-BDFA-714AE8126604}"/>
              </a:ext>
            </a:extLst>
          </p:cNvPr>
          <p:cNvSpPr txBox="1"/>
          <p:nvPr/>
        </p:nvSpPr>
        <p:spPr>
          <a:xfrm>
            <a:off x="291663" y="480484"/>
            <a:ext cx="8992387" cy="861774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 defTabSz="914343">
              <a:defRPr/>
            </a:pPr>
            <a:r>
              <a:rPr lang="en-US" sz="1600" b="1" kern="0" noProof="1">
                <a:solidFill>
                  <a:srgbClr val="F3FBF7"/>
                </a:solidFill>
                <a:latin typeface="Montserrat"/>
              </a:rPr>
              <a:t>Stap 4:</a:t>
            </a:r>
            <a:br>
              <a:rPr lang="en-US" sz="1800" b="1" kern="0" noProof="1">
                <a:latin typeface="Montserrat" panose="00000500000000000000" pitchFamily="2" charset="0"/>
              </a:rPr>
            </a:br>
            <a:r>
              <a:rPr lang="en-US" sz="3400" b="1" kern="0" noProof="1">
                <a:solidFill>
                  <a:srgbClr val="F3FBF7"/>
                </a:solidFill>
                <a:latin typeface="Montserrat"/>
              </a:rPr>
              <a:t>Berekening &amp; conversie </a:t>
            </a:r>
            <a:endParaRPr lang="nl-NL" sz="3400">
              <a:latin typeface="Montserrat"/>
            </a:endParaRPr>
          </a:p>
        </p:txBody>
      </p:sp>
      <p:sp>
        <p:nvSpPr>
          <p:cNvPr id="10" name="Tijdelijke aanduiding voor dianummer 1">
            <a:extLst>
              <a:ext uri="{FF2B5EF4-FFF2-40B4-BE49-F238E27FC236}">
                <a16:creationId xmlns:a16="http://schemas.microsoft.com/office/drawing/2014/main" id="{05BEE02A-1D84-1D90-5ABC-F6DB0EB759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688" y="6119725"/>
            <a:ext cx="431800" cy="360362"/>
          </a:xfrm>
        </p:spPr>
        <p:txBody>
          <a:bodyPr/>
          <a:lstStyle/>
          <a:p>
            <a:pPr marL="0" marR="0" lvl="0" indent="0" algn="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82D01A-ED25-4F30-894A-E32B487BCBA5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F4F6F8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pPr marL="0" marR="0" lvl="0" indent="0" algn="r" defTabSz="86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F4F6F8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0B90114C-23CD-15BC-B7A2-00A7FFC0EB94}"/>
              </a:ext>
            </a:extLst>
          </p:cNvPr>
          <p:cNvSpPr/>
          <p:nvPr/>
        </p:nvSpPr>
        <p:spPr>
          <a:xfrm>
            <a:off x="244" y="5804413"/>
            <a:ext cx="11520488" cy="67558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err="1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92B4A682-20D2-F774-087F-1842D4721441}"/>
              </a:ext>
            </a:extLst>
          </p:cNvPr>
          <p:cNvSpPr txBox="1">
            <a:spLocks/>
          </p:cNvSpPr>
          <p:nvPr/>
        </p:nvSpPr>
        <p:spPr>
          <a:xfrm>
            <a:off x="125479" y="5917710"/>
            <a:ext cx="10296239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BeYOND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9215D520-74A8-7951-B38B-F27194A3565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3" name="Picture 2" descr="Nationale Coalitie Duurzame Digitalisering">
            <a:extLst>
              <a:ext uri="{FF2B5EF4-FFF2-40B4-BE49-F238E27FC236}">
                <a16:creationId xmlns:a16="http://schemas.microsoft.com/office/drawing/2014/main" id="{AF08B174-9418-A84F-8A6E-C17901CF79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2964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3FBF7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051F722-39FF-0FFD-F7A2-00479359FB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1" name="Tekstvak 1060">
            <a:extLst>
              <a:ext uri="{FF2B5EF4-FFF2-40B4-BE49-F238E27FC236}">
                <a16:creationId xmlns:a16="http://schemas.microsoft.com/office/drawing/2014/main" id="{FCBA6E09-0B4E-235E-2699-BD9478F7461C}"/>
              </a:ext>
            </a:extLst>
          </p:cNvPr>
          <p:cNvSpPr txBox="1"/>
          <p:nvPr/>
        </p:nvSpPr>
        <p:spPr>
          <a:xfrm>
            <a:off x="2881357" y="3038865"/>
            <a:ext cx="58006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64017">
              <a:defRPr/>
            </a:pPr>
            <a:r>
              <a:rPr lang="en-US" sz="1800" b="1" kern="0" noProof="1">
                <a:solidFill>
                  <a:srgbClr val="00BCE2"/>
                </a:solidFill>
                <a:latin typeface="Montserrat" panose="00000500000000000000" pitchFamily="2" charset="0"/>
              </a:rPr>
              <a:t> </a:t>
            </a:r>
            <a:endParaRPr lang="en-GB" sz="1800">
              <a:solidFill>
                <a:srgbClr val="555C6B"/>
              </a:solidFill>
              <a:latin typeface="Calibri"/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35523716-F0FB-1421-A9EE-3F7CA892AD79}"/>
              </a:ext>
            </a:extLst>
          </p:cNvPr>
          <p:cNvSpPr/>
          <p:nvPr/>
        </p:nvSpPr>
        <p:spPr>
          <a:xfrm>
            <a:off x="-16932" y="-8028"/>
            <a:ext cx="11537333" cy="1295991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9" tIns="35999" rIns="35999" bIns="359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  <a:defRPr/>
            </a:pPr>
            <a:endParaRPr lang="en-GB" sz="90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4" name="Picture 3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B633F6DF-8BB3-006D-0328-363AF2E1363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" r="11"/>
          <a:stretch/>
        </p:blipFill>
        <p:spPr>
          <a:xfrm>
            <a:off x="2881357" y="1569214"/>
            <a:ext cx="5591755" cy="3953909"/>
          </a:xfrm>
          <a:prstGeom prst="rect">
            <a:avLst/>
          </a:prstGeom>
        </p:spPr>
      </p:pic>
      <p:sp>
        <p:nvSpPr>
          <p:cNvPr id="8" name="TextBox 80">
            <a:extLst>
              <a:ext uri="{FF2B5EF4-FFF2-40B4-BE49-F238E27FC236}">
                <a16:creationId xmlns:a16="http://schemas.microsoft.com/office/drawing/2014/main" id="{52BDFC00-A98C-AF88-D3AD-5E3262963121}"/>
              </a:ext>
            </a:extLst>
          </p:cNvPr>
          <p:cNvSpPr txBox="1"/>
          <p:nvPr/>
        </p:nvSpPr>
        <p:spPr>
          <a:xfrm>
            <a:off x="291663" y="480484"/>
            <a:ext cx="8992387" cy="861774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 defTabSz="914343">
              <a:defRPr/>
            </a:pPr>
            <a:r>
              <a:rPr lang="en-US" sz="1600" b="1" kern="0" noProof="1">
                <a:solidFill>
                  <a:srgbClr val="F3FBF7"/>
                </a:solidFill>
                <a:latin typeface="Montserrat"/>
              </a:rPr>
              <a:t>Stap 4:</a:t>
            </a:r>
            <a:br>
              <a:rPr lang="en-US" sz="1800" b="1" kern="0" noProof="1">
                <a:latin typeface="Montserrat" panose="00000500000000000000" pitchFamily="2" charset="0"/>
              </a:rPr>
            </a:br>
            <a:r>
              <a:rPr lang="en-US" sz="3400" b="1" kern="0" noProof="1">
                <a:solidFill>
                  <a:srgbClr val="F3FBF7"/>
                </a:solidFill>
                <a:latin typeface="Montserrat"/>
              </a:rPr>
              <a:t>Berekening &amp; conversie </a:t>
            </a:r>
            <a:endParaRPr lang="nl-NL" sz="3400">
              <a:latin typeface="Montserrat"/>
            </a:endParaRPr>
          </a:p>
        </p:txBody>
      </p:sp>
      <p:sp>
        <p:nvSpPr>
          <p:cNvPr id="12" name="Tijdelijke aanduiding voor dianummer 1">
            <a:extLst>
              <a:ext uri="{FF2B5EF4-FFF2-40B4-BE49-F238E27FC236}">
                <a16:creationId xmlns:a16="http://schemas.microsoft.com/office/drawing/2014/main" id="{3D742E50-FC2D-7B21-AC42-34EDEE4989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688" y="6119725"/>
            <a:ext cx="431800" cy="360362"/>
          </a:xfrm>
        </p:spPr>
        <p:txBody>
          <a:bodyPr/>
          <a:lstStyle/>
          <a:p>
            <a:pPr marL="0" marR="0" lvl="0" indent="0" algn="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82D01A-ED25-4F30-894A-E32B487BCBA5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F4F6F8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pPr marL="0" marR="0" lvl="0" indent="0" algn="r" defTabSz="86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F4F6F8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15" name="Rechthoek 14">
            <a:extLst>
              <a:ext uri="{FF2B5EF4-FFF2-40B4-BE49-F238E27FC236}">
                <a16:creationId xmlns:a16="http://schemas.microsoft.com/office/drawing/2014/main" id="{AA163A4F-246A-B023-3953-16F8E071EDE4}"/>
              </a:ext>
            </a:extLst>
          </p:cNvPr>
          <p:cNvSpPr/>
          <p:nvPr/>
        </p:nvSpPr>
        <p:spPr>
          <a:xfrm>
            <a:off x="244" y="5804413"/>
            <a:ext cx="11520488" cy="67558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err="1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BB2338FE-85C7-1725-38BF-180357BBFE42}"/>
              </a:ext>
            </a:extLst>
          </p:cNvPr>
          <p:cNvSpPr txBox="1">
            <a:spLocks/>
          </p:cNvSpPr>
          <p:nvPr/>
        </p:nvSpPr>
        <p:spPr>
          <a:xfrm>
            <a:off x="125479" y="5917710"/>
            <a:ext cx="10296239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BeYOND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77066525-3F3E-B64E-374F-75091935DC2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3" name="Picture 2" descr="Nationale Coalitie Duurzame Digitalisering">
            <a:extLst>
              <a:ext uri="{FF2B5EF4-FFF2-40B4-BE49-F238E27FC236}">
                <a16:creationId xmlns:a16="http://schemas.microsoft.com/office/drawing/2014/main" id="{0EE01008-2B9D-D156-5A39-072597B4E3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7388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3FBF7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696C579-A266-CB41-ADA9-869381F012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6DE31698-F6A4-F2A4-90BA-C455AFA9E465}"/>
              </a:ext>
            </a:extLst>
          </p:cNvPr>
          <p:cNvSpPr/>
          <p:nvPr/>
        </p:nvSpPr>
        <p:spPr>
          <a:xfrm>
            <a:off x="-16932" y="-8028"/>
            <a:ext cx="11537333" cy="1295991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9" tIns="35999" rIns="35999" bIns="359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  <a:defRPr/>
            </a:pPr>
            <a:endParaRPr lang="en-GB" sz="90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TextBox 80">
            <a:extLst>
              <a:ext uri="{FF2B5EF4-FFF2-40B4-BE49-F238E27FC236}">
                <a16:creationId xmlns:a16="http://schemas.microsoft.com/office/drawing/2014/main" id="{DDE6E8CD-E59C-4DBE-8156-DD0318E6C78A}"/>
              </a:ext>
            </a:extLst>
          </p:cNvPr>
          <p:cNvSpPr txBox="1"/>
          <p:nvPr/>
        </p:nvSpPr>
        <p:spPr>
          <a:xfrm>
            <a:off x="291663" y="596782"/>
            <a:ext cx="10950377" cy="677108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 defTabSz="914343">
              <a:defRPr/>
            </a:pPr>
            <a:r>
              <a:rPr lang="en-US" sz="1400" b="1" kern="0" noProof="1">
                <a:solidFill>
                  <a:srgbClr val="F3FBF7"/>
                </a:solidFill>
                <a:latin typeface="Montserrat"/>
              </a:rPr>
              <a:t>Stap 4:</a:t>
            </a:r>
            <a:br>
              <a:rPr lang="en-US" sz="1600" b="1" kern="0" noProof="1">
                <a:latin typeface="Montserrat" panose="00000500000000000000" pitchFamily="2" charset="0"/>
              </a:rPr>
            </a:br>
            <a:r>
              <a:rPr lang="en-US" sz="2400" b="1" kern="0" noProof="1">
                <a:solidFill>
                  <a:srgbClr val="F3FBF7"/>
                </a:solidFill>
                <a:latin typeface="Montserrat"/>
              </a:rPr>
              <a:t>Geautomatiseerde rekenmachine voor ESR conversie data output</a:t>
            </a:r>
          </a:p>
        </p:txBody>
      </p:sp>
      <p:sp>
        <p:nvSpPr>
          <p:cNvPr id="5" name="Tijdelijke aanduiding voor dianummer 1">
            <a:extLst>
              <a:ext uri="{FF2B5EF4-FFF2-40B4-BE49-F238E27FC236}">
                <a16:creationId xmlns:a16="http://schemas.microsoft.com/office/drawing/2014/main" id="{5A47C321-9070-DCC5-A9EE-F854C31674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688" y="6119725"/>
            <a:ext cx="431800" cy="360362"/>
          </a:xfrm>
        </p:spPr>
        <p:txBody>
          <a:bodyPr/>
          <a:lstStyle/>
          <a:p>
            <a:pPr marL="0" marR="0" lvl="0" indent="0" algn="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82D01A-ED25-4F30-894A-E32B487BCBA5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F4F6F8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pPr marL="0" marR="0" lvl="0" indent="0" algn="r" defTabSz="86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F4F6F8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7BEA1745-0C36-9BB7-BB78-AE020A1516BA}"/>
              </a:ext>
            </a:extLst>
          </p:cNvPr>
          <p:cNvSpPr/>
          <p:nvPr/>
        </p:nvSpPr>
        <p:spPr>
          <a:xfrm>
            <a:off x="244" y="5804413"/>
            <a:ext cx="11520488" cy="67558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err="1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43F54D4-5691-F0A5-D393-A6B8FFBA8D59}"/>
              </a:ext>
            </a:extLst>
          </p:cNvPr>
          <p:cNvSpPr txBox="1">
            <a:spLocks/>
          </p:cNvSpPr>
          <p:nvPr/>
        </p:nvSpPr>
        <p:spPr>
          <a:xfrm>
            <a:off x="125479" y="5917710"/>
            <a:ext cx="10296239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BeYOND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05CA3893-0145-2D47-113F-44736D44904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6" name="Picture 2" descr="Nationale Coalitie Duurzame Digitalisering">
            <a:extLst>
              <a:ext uri="{FF2B5EF4-FFF2-40B4-BE49-F238E27FC236}">
                <a16:creationId xmlns:a16="http://schemas.microsoft.com/office/drawing/2014/main" id="{D5EF46EE-ABB5-D2B2-AA0D-C9E12D4442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80">
            <a:extLst>
              <a:ext uri="{FF2B5EF4-FFF2-40B4-BE49-F238E27FC236}">
                <a16:creationId xmlns:a16="http://schemas.microsoft.com/office/drawing/2014/main" id="{E5A0A5B6-9FF6-60AB-FDDB-29EEFA453105}"/>
              </a:ext>
            </a:extLst>
          </p:cNvPr>
          <p:cNvSpPr txBox="1"/>
          <p:nvPr/>
        </p:nvSpPr>
        <p:spPr>
          <a:xfrm>
            <a:off x="508926" y="3701435"/>
            <a:ext cx="2838794" cy="1849417"/>
          </a:xfrm>
          <a:prstGeom prst="rect">
            <a:avLst/>
          </a:prstGeom>
          <a:noFill/>
        </p:spPr>
        <p:txBody>
          <a:bodyPr wrap="square" lIns="0" rtlCol="0" anchor="t">
            <a:spAutoFit/>
          </a:bodyPr>
          <a:lstStyle/>
          <a:p>
            <a:pPr marL="270005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nl-NL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Koppelen van de verschillende databronnen</a:t>
            </a:r>
          </a:p>
          <a:p>
            <a:pPr marL="270005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nl-NL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ESRS rekenregeles bereking voor compliance output</a:t>
            </a:r>
          </a:p>
          <a:p>
            <a:pPr marL="270005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endParaRPr lang="en-US" sz="1512" kern="0" noProof="1">
              <a:solidFill>
                <a:srgbClr val="236B47"/>
              </a:solidFill>
              <a:latin typeface="Montserrat" panose="00000500000000000000" pitchFamily="2" charset="0"/>
            </a:endParaRPr>
          </a:p>
        </p:txBody>
      </p:sp>
      <p:sp>
        <p:nvSpPr>
          <p:cNvPr id="15" name="TextBox 80">
            <a:extLst>
              <a:ext uri="{FF2B5EF4-FFF2-40B4-BE49-F238E27FC236}">
                <a16:creationId xmlns:a16="http://schemas.microsoft.com/office/drawing/2014/main" id="{0302078E-C846-D449-B2D4-C71829D5A35C}"/>
              </a:ext>
            </a:extLst>
          </p:cNvPr>
          <p:cNvSpPr txBox="1"/>
          <p:nvPr/>
        </p:nvSpPr>
        <p:spPr>
          <a:xfrm>
            <a:off x="4290992" y="3664264"/>
            <a:ext cx="2838794" cy="1849417"/>
          </a:xfrm>
          <a:prstGeom prst="rect">
            <a:avLst/>
          </a:prstGeom>
          <a:noFill/>
        </p:spPr>
        <p:txBody>
          <a:bodyPr wrap="square" lIns="0" rtlCol="0" anchor="t">
            <a:spAutoFit/>
          </a:bodyPr>
          <a:lstStyle/>
          <a:p>
            <a:pPr marL="270005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nl-NL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Inzicht in de verwerkte data, inclusief datakwaliteit </a:t>
            </a:r>
          </a:p>
          <a:p>
            <a:pPr marL="270005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nl-NL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Rapporteren gecertificeerde waarde en resultaten</a:t>
            </a:r>
          </a:p>
          <a:p>
            <a:pPr marL="270005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endParaRPr lang="en-US" sz="1512" kern="0" noProof="1">
              <a:solidFill>
                <a:srgbClr val="236B47"/>
              </a:solidFill>
              <a:latin typeface="Montserrat" panose="00000500000000000000" pitchFamily="2" charset="0"/>
            </a:endParaRPr>
          </a:p>
        </p:txBody>
      </p:sp>
      <p:sp>
        <p:nvSpPr>
          <p:cNvPr id="16" name="TextBox 80">
            <a:extLst>
              <a:ext uri="{FF2B5EF4-FFF2-40B4-BE49-F238E27FC236}">
                <a16:creationId xmlns:a16="http://schemas.microsoft.com/office/drawing/2014/main" id="{6CEFD4B1-63B8-06C5-CFF5-185FC7053C86}"/>
              </a:ext>
            </a:extLst>
          </p:cNvPr>
          <p:cNvSpPr txBox="1"/>
          <p:nvPr/>
        </p:nvSpPr>
        <p:spPr>
          <a:xfrm>
            <a:off x="7958752" y="3697062"/>
            <a:ext cx="2838794" cy="1319913"/>
          </a:xfrm>
          <a:prstGeom prst="rect">
            <a:avLst/>
          </a:prstGeom>
          <a:noFill/>
        </p:spPr>
        <p:txBody>
          <a:bodyPr wrap="square" lIns="0" rtlCol="0" anchor="t">
            <a:spAutoFit/>
          </a:bodyPr>
          <a:lstStyle/>
          <a:p>
            <a:pPr marL="270005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nl-NL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Reductie scenario’s over de jaren heen op specifieke ESRS datapunten</a:t>
            </a:r>
          </a:p>
          <a:p>
            <a:pPr marL="270005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endParaRPr lang="en-US" sz="1512" kern="0" noProof="1">
              <a:solidFill>
                <a:srgbClr val="236B47"/>
              </a:solidFill>
              <a:latin typeface="Montserrat" panose="00000500000000000000" pitchFamily="2" charset="0"/>
            </a:endParaRP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B78DC24F-63C4-D7B7-D48B-F7CB584829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6479" y="1448982"/>
            <a:ext cx="10668925" cy="2097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006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1"/>
          <p:cNvSpPr txBox="1"/>
          <p:nvPr/>
        </p:nvSpPr>
        <p:spPr>
          <a:xfrm>
            <a:off x="517342" y="2847424"/>
            <a:ext cx="5644430" cy="192360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99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598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397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196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3995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2794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593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0392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4988"/>
              </a:lnSpc>
            </a:pPr>
            <a:r>
              <a:rPr lang="en-US" sz="5039" spc="176">
                <a:solidFill>
                  <a:srgbClr val="35744F"/>
                </a:solidFill>
                <a:latin typeface="Arial Bold"/>
              </a:rPr>
              <a:t>HUIS VAN DUURZAME DIGITALISERING</a:t>
            </a:r>
          </a:p>
        </p:txBody>
      </p:sp>
      <p:sp>
        <p:nvSpPr>
          <p:cNvPr id="22" name="Freeform 22"/>
          <p:cNvSpPr/>
          <p:nvPr/>
        </p:nvSpPr>
        <p:spPr>
          <a:xfrm rot="12673982">
            <a:off x="-2327829" y="-3318157"/>
            <a:ext cx="5951869" cy="7398550"/>
          </a:xfrm>
          <a:custGeom>
            <a:avLst/>
            <a:gdLst/>
            <a:ahLst/>
            <a:cxnLst/>
            <a:rect l="l" t="t" r="r" b="b"/>
            <a:pathLst>
              <a:path w="9448337" h="11744881">
                <a:moveTo>
                  <a:pt x="0" y="0"/>
                </a:moveTo>
                <a:lnTo>
                  <a:pt x="9448338" y="0"/>
                </a:lnTo>
                <a:lnTo>
                  <a:pt x="9448338" y="11744881"/>
                </a:lnTo>
                <a:lnTo>
                  <a:pt x="0" y="11744881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99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598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397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196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3995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2794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593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0392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NL" sz="714"/>
          </a:p>
        </p:txBody>
      </p:sp>
      <p:pic>
        <p:nvPicPr>
          <p:cNvPr id="26" name="Afbeelding 25" descr="Afbeelding met tekst, visitekaartje, schermopname, logo&#10;&#10;Automatisch gegenereerde beschrijving">
            <a:extLst>
              <a:ext uri="{FF2B5EF4-FFF2-40B4-BE49-F238E27FC236}">
                <a16:creationId xmlns:a16="http://schemas.microsoft.com/office/drawing/2014/main" id="{01597604-9A0A-EF4D-BFCD-B506798C84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4242" y="456012"/>
            <a:ext cx="5392814" cy="4994018"/>
          </a:xfrm>
          <a:prstGeom prst="rect">
            <a:avLst/>
          </a:prstGeom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AC220AD-7CA9-CC2C-CDEF-A3840E1201D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B8F536F-54FC-A102-FFAD-4E9AA201339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AF7CD5-9CB0-1E37-0472-61C3752465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82D01A-ED25-4F30-894A-E32B487BCBA5}" type="slidenum">
              <a:rPr lang="nl-NL" smtClean="0"/>
              <a:pPr/>
              <a:t>40</a:t>
            </a:fld>
            <a:endParaRPr lang="nl-NL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6638A285-7564-3043-9849-D5F31E065BF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lIns="0" tIns="0" rIns="0" bIns="0" anchor="t">
            <a:normAutofit/>
          </a:bodyPr>
          <a:lstStyle/>
          <a:p>
            <a:r>
              <a:rPr lang="en-US">
                <a:latin typeface="Open Sans"/>
                <a:ea typeface="Open Sans"/>
                <a:cs typeface="Open Sans"/>
              </a:rPr>
              <a:t>10 </a:t>
            </a:r>
            <a:r>
              <a:rPr lang="en-US" err="1">
                <a:latin typeface="Open Sans"/>
                <a:ea typeface="Open Sans"/>
                <a:cs typeface="Open Sans"/>
              </a:rPr>
              <a:t>minuten</a:t>
            </a:r>
            <a:endParaRPr lang="en-US" err="1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0DCDE32-AC87-F95D-E9C2-409ECE85F52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latin typeface="Open Sans"/>
                <a:ea typeface="Open Sans"/>
                <a:cs typeface="Open Sans"/>
              </a:rPr>
              <a:t>Rutger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CE608F5-907A-09A1-4D2B-FB25BA7F746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189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33073BA-6013-1AF3-7218-93A97C22B9DF}"/>
              </a:ext>
            </a:extLst>
          </p:cNvPr>
          <p:cNvSpPr/>
          <p:nvPr/>
        </p:nvSpPr>
        <p:spPr>
          <a:xfrm>
            <a:off x="-16932" y="-8029"/>
            <a:ext cx="11537419" cy="5812314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9" tIns="35999" rIns="35999" bIns="359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3949">
              <a:buClr>
                <a:srgbClr val="4AC300"/>
              </a:buClr>
            </a:pPr>
            <a:endParaRPr lang="en-GB" sz="90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043" name="Groep 1042">
            <a:extLst>
              <a:ext uri="{FF2B5EF4-FFF2-40B4-BE49-F238E27FC236}">
                <a16:creationId xmlns:a16="http://schemas.microsoft.com/office/drawing/2014/main" id="{D3BACDF9-858D-F822-021E-065BE0F1CD89}"/>
              </a:ext>
            </a:extLst>
          </p:cNvPr>
          <p:cNvGrpSpPr/>
          <p:nvPr/>
        </p:nvGrpSpPr>
        <p:grpSpPr>
          <a:xfrm>
            <a:off x="5644867" y="789591"/>
            <a:ext cx="4305993" cy="4305993"/>
            <a:chOff x="3480978" y="651977"/>
            <a:chExt cx="4305993" cy="4305993"/>
          </a:xfrm>
        </p:grpSpPr>
        <p:grpSp>
          <p:nvGrpSpPr>
            <p:cNvPr id="1028" name="Group 23">
              <a:extLst>
                <a:ext uri="{FF2B5EF4-FFF2-40B4-BE49-F238E27FC236}">
                  <a16:creationId xmlns:a16="http://schemas.microsoft.com/office/drawing/2014/main" id="{A6695424-0E8E-0598-1060-1F1C6161DA5F}"/>
                </a:ext>
              </a:extLst>
            </p:cNvPr>
            <p:cNvGrpSpPr>
              <a:grpSpLocks/>
            </p:cNvGrpSpPr>
            <p:nvPr/>
          </p:nvGrpSpPr>
          <p:grpSpPr>
            <a:xfrm>
              <a:off x="3480978" y="651977"/>
              <a:ext cx="4305993" cy="4305993"/>
              <a:chOff x="3703044" y="1238239"/>
              <a:chExt cx="4785911" cy="4780994"/>
            </a:xfrm>
          </p:grpSpPr>
          <p:sp>
            <p:nvSpPr>
              <p:cNvPr id="1029" name="Freeform 24">
                <a:extLst>
                  <a:ext uri="{FF2B5EF4-FFF2-40B4-BE49-F238E27FC236}">
                    <a16:creationId xmlns:a16="http://schemas.microsoft.com/office/drawing/2014/main" id="{CC57279E-6B2B-4CB7-76BD-AC59463BBF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4634" y="4273088"/>
                <a:ext cx="2365903" cy="1746145"/>
              </a:xfrm>
              <a:custGeom>
                <a:avLst/>
                <a:gdLst>
                  <a:gd name="T0" fmla="*/ 298 w 1922"/>
                  <a:gd name="T1" fmla="*/ 324 h 1419"/>
                  <a:gd name="T2" fmla="*/ 0 w 1922"/>
                  <a:gd name="T3" fmla="*/ 875 h 1419"/>
                  <a:gd name="T4" fmla="*/ 298 w 1922"/>
                  <a:gd name="T5" fmla="*/ 1419 h 1419"/>
                  <a:gd name="T6" fmla="*/ 301 w 1922"/>
                  <a:gd name="T7" fmla="*/ 1419 h 1419"/>
                  <a:gd name="T8" fmla="*/ 364 w 1922"/>
                  <a:gd name="T9" fmla="*/ 1418 h 1419"/>
                  <a:gd name="T10" fmla="*/ 490 w 1922"/>
                  <a:gd name="T11" fmla="*/ 1410 h 1419"/>
                  <a:gd name="T12" fmla="*/ 612 w 1922"/>
                  <a:gd name="T13" fmla="*/ 1394 h 1419"/>
                  <a:gd name="T14" fmla="*/ 732 w 1922"/>
                  <a:gd name="T15" fmla="*/ 1371 h 1419"/>
                  <a:gd name="T16" fmla="*/ 849 w 1922"/>
                  <a:gd name="T17" fmla="*/ 1341 h 1419"/>
                  <a:gd name="T18" fmla="*/ 964 w 1922"/>
                  <a:gd name="T19" fmla="*/ 1304 h 1419"/>
                  <a:gd name="T20" fmla="*/ 1075 w 1922"/>
                  <a:gd name="T21" fmla="*/ 1260 h 1419"/>
                  <a:gd name="T22" fmla="*/ 1182 w 1922"/>
                  <a:gd name="T23" fmla="*/ 1209 h 1419"/>
                  <a:gd name="T24" fmla="*/ 1287 w 1922"/>
                  <a:gd name="T25" fmla="*/ 1152 h 1419"/>
                  <a:gd name="T26" fmla="*/ 1387 w 1922"/>
                  <a:gd name="T27" fmla="*/ 1088 h 1419"/>
                  <a:gd name="T28" fmla="*/ 1482 w 1922"/>
                  <a:gd name="T29" fmla="*/ 1020 h 1419"/>
                  <a:gd name="T30" fmla="*/ 1574 w 1922"/>
                  <a:gd name="T31" fmla="*/ 946 h 1419"/>
                  <a:gd name="T32" fmla="*/ 1660 w 1922"/>
                  <a:gd name="T33" fmla="*/ 866 h 1419"/>
                  <a:gd name="T34" fmla="*/ 1742 w 1922"/>
                  <a:gd name="T35" fmla="*/ 781 h 1419"/>
                  <a:gd name="T36" fmla="*/ 1819 w 1922"/>
                  <a:gd name="T37" fmla="*/ 692 h 1419"/>
                  <a:gd name="T38" fmla="*/ 1889 w 1922"/>
                  <a:gd name="T39" fmla="*/ 597 h 1419"/>
                  <a:gd name="T40" fmla="*/ 1922 w 1922"/>
                  <a:gd name="T41" fmla="*/ 549 h 1419"/>
                  <a:gd name="T42" fmla="*/ 1298 w 1922"/>
                  <a:gd name="T43" fmla="*/ 535 h 1419"/>
                  <a:gd name="T44" fmla="*/ 970 w 1922"/>
                  <a:gd name="T45" fmla="*/ 0 h 1419"/>
                  <a:gd name="T46" fmla="*/ 940 w 1922"/>
                  <a:gd name="T47" fmla="*/ 36 h 1419"/>
                  <a:gd name="T48" fmla="*/ 874 w 1922"/>
                  <a:gd name="T49" fmla="*/ 103 h 1419"/>
                  <a:gd name="T50" fmla="*/ 800 w 1922"/>
                  <a:gd name="T51" fmla="*/ 163 h 1419"/>
                  <a:gd name="T52" fmla="*/ 721 w 1922"/>
                  <a:gd name="T53" fmla="*/ 214 h 1419"/>
                  <a:gd name="T54" fmla="*/ 635 w 1922"/>
                  <a:gd name="T55" fmla="*/ 256 h 1419"/>
                  <a:gd name="T56" fmla="*/ 546 w 1922"/>
                  <a:gd name="T57" fmla="*/ 289 h 1419"/>
                  <a:gd name="T58" fmla="*/ 451 w 1922"/>
                  <a:gd name="T59" fmla="*/ 312 h 1419"/>
                  <a:gd name="T60" fmla="*/ 353 w 1922"/>
                  <a:gd name="T61" fmla="*/ 324 h 1419"/>
                  <a:gd name="T62" fmla="*/ 301 w 1922"/>
                  <a:gd name="T63" fmla="*/ 325 h 1419"/>
                  <a:gd name="T64" fmla="*/ 298 w 1922"/>
                  <a:gd name="T65" fmla="*/ 324 h 1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922" h="1419">
                    <a:moveTo>
                      <a:pt x="298" y="324"/>
                    </a:moveTo>
                    <a:lnTo>
                      <a:pt x="0" y="875"/>
                    </a:lnTo>
                    <a:lnTo>
                      <a:pt x="298" y="1419"/>
                    </a:lnTo>
                    <a:lnTo>
                      <a:pt x="301" y="1419"/>
                    </a:lnTo>
                    <a:lnTo>
                      <a:pt x="364" y="1418"/>
                    </a:lnTo>
                    <a:lnTo>
                      <a:pt x="490" y="1410"/>
                    </a:lnTo>
                    <a:lnTo>
                      <a:pt x="612" y="1394"/>
                    </a:lnTo>
                    <a:lnTo>
                      <a:pt x="732" y="1371"/>
                    </a:lnTo>
                    <a:lnTo>
                      <a:pt x="849" y="1341"/>
                    </a:lnTo>
                    <a:lnTo>
                      <a:pt x="964" y="1304"/>
                    </a:lnTo>
                    <a:lnTo>
                      <a:pt x="1075" y="1260"/>
                    </a:lnTo>
                    <a:lnTo>
                      <a:pt x="1182" y="1209"/>
                    </a:lnTo>
                    <a:lnTo>
                      <a:pt x="1287" y="1152"/>
                    </a:lnTo>
                    <a:lnTo>
                      <a:pt x="1387" y="1088"/>
                    </a:lnTo>
                    <a:lnTo>
                      <a:pt x="1482" y="1020"/>
                    </a:lnTo>
                    <a:lnTo>
                      <a:pt x="1574" y="946"/>
                    </a:lnTo>
                    <a:lnTo>
                      <a:pt x="1660" y="866"/>
                    </a:lnTo>
                    <a:lnTo>
                      <a:pt x="1742" y="781"/>
                    </a:lnTo>
                    <a:lnTo>
                      <a:pt x="1819" y="692"/>
                    </a:lnTo>
                    <a:lnTo>
                      <a:pt x="1889" y="597"/>
                    </a:lnTo>
                    <a:lnTo>
                      <a:pt x="1922" y="549"/>
                    </a:lnTo>
                    <a:lnTo>
                      <a:pt x="1298" y="535"/>
                    </a:lnTo>
                    <a:lnTo>
                      <a:pt x="970" y="0"/>
                    </a:lnTo>
                    <a:lnTo>
                      <a:pt x="940" y="36"/>
                    </a:lnTo>
                    <a:lnTo>
                      <a:pt x="874" y="103"/>
                    </a:lnTo>
                    <a:lnTo>
                      <a:pt x="800" y="163"/>
                    </a:lnTo>
                    <a:lnTo>
                      <a:pt x="721" y="214"/>
                    </a:lnTo>
                    <a:lnTo>
                      <a:pt x="635" y="256"/>
                    </a:lnTo>
                    <a:lnTo>
                      <a:pt x="546" y="289"/>
                    </a:lnTo>
                    <a:lnTo>
                      <a:pt x="451" y="312"/>
                    </a:lnTo>
                    <a:lnTo>
                      <a:pt x="353" y="324"/>
                    </a:lnTo>
                    <a:lnTo>
                      <a:pt x="301" y="325"/>
                    </a:lnTo>
                    <a:lnTo>
                      <a:pt x="298" y="3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1030" name="Freeform 27">
                <a:extLst>
                  <a:ext uri="{FF2B5EF4-FFF2-40B4-BE49-F238E27FC236}">
                    <a16:creationId xmlns:a16="http://schemas.microsoft.com/office/drawing/2014/main" id="{24FA486F-BA2F-0616-10AC-C2B505865E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98583" y="2551537"/>
                <a:ext cx="1490372" cy="2267529"/>
              </a:xfrm>
              <a:custGeom>
                <a:avLst/>
                <a:gdLst>
                  <a:gd name="T0" fmla="*/ 1002 w 1209"/>
                  <a:gd name="T1" fmla="*/ 0 h 1842"/>
                  <a:gd name="T2" fmla="*/ 678 w 1209"/>
                  <a:gd name="T3" fmla="*/ 534 h 1842"/>
                  <a:gd name="T4" fmla="*/ 52 w 1209"/>
                  <a:gd name="T5" fmla="*/ 551 h 1842"/>
                  <a:gd name="T6" fmla="*/ 66 w 1209"/>
                  <a:gd name="T7" fmla="*/ 588 h 1842"/>
                  <a:gd name="T8" fmla="*/ 89 w 1209"/>
                  <a:gd name="T9" fmla="*/ 667 h 1842"/>
                  <a:gd name="T10" fmla="*/ 106 w 1209"/>
                  <a:gd name="T11" fmla="*/ 748 h 1842"/>
                  <a:gd name="T12" fmla="*/ 114 w 1209"/>
                  <a:gd name="T13" fmla="*/ 832 h 1842"/>
                  <a:gd name="T14" fmla="*/ 115 w 1209"/>
                  <a:gd name="T15" fmla="*/ 875 h 1842"/>
                  <a:gd name="T16" fmla="*/ 114 w 1209"/>
                  <a:gd name="T17" fmla="*/ 933 h 1842"/>
                  <a:gd name="T18" fmla="*/ 98 w 1209"/>
                  <a:gd name="T19" fmla="*/ 1046 h 1842"/>
                  <a:gd name="T20" fmla="*/ 70 w 1209"/>
                  <a:gd name="T21" fmla="*/ 1152 h 1842"/>
                  <a:gd name="T22" fmla="*/ 27 w 1209"/>
                  <a:gd name="T23" fmla="*/ 1255 h 1842"/>
                  <a:gd name="T24" fmla="*/ 0 w 1209"/>
                  <a:gd name="T25" fmla="*/ 1301 h 1842"/>
                  <a:gd name="T26" fmla="*/ 324 w 1209"/>
                  <a:gd name="T27" fmla="*/ 1829 h 1842"/>
                  <a:gd name="T28" fmla="*/ 952 w 1209"/>
                  <a:gd name="T29" fmla="*/ 1842 h 1842"/>
                  <a:gd name="T30" fmla="*/ 982 w 1209"/>
                  <a:gd name="T31" fmla="*/ 1789 h 1842"/>
                  <a:gd name="T32" fmla="*/ 1037 w 1209"/>
                  <a:gd name="T33" fmla="*/ 1677 h 1842"/>
                  <a:gd name="T34" fmla="*/ 1085 w 1209"/>
                  <a:gd name="T35" fmla="*/ 1563 h 1842"/>
                  <a:gd name="T36" fmla="*/ 1125 w 1209"/>
                  <a:gd name="T37" fmla="*/ 1444 h 1842"/>
                  <a:gd name="T38" fmla="*/ 1158 w 1209"/>
                  <a:gd name="T39" fmla="*/ 1323 h 1842"/>
                  <a:gd name="T40" fmla="*/ 1183 w 1209"/>
                  <a:gd name="T41" fmla="*/ 1198 h 1842"/>
                  <a:gd name="T42" fmla="*/ 1200 w 1209"/>
                  <a:gd name="T43" fmla="*/ 1070 h 1842"/>
                  <a:gd name="T44" fmla="*/ 1209 w 1209"/>
                  <a:gd name="T45" fmla="*/ 941 h 1842"/>
                  <a:gd name="T46" fmla="*/ 1209 w 1209"/>
                  <a:gd name="T47" fmla="*/ 875 h 1842"/>
                  <a:gd name="T48" fmla="*/ 1209 w 1209"/>
                  <a:gd name="T49" fmla="*/ 816 h 1842"/>
                  <a:gd name="T50" fmla="*/ 1203 w 1209"/>
                  <a:gd name="T51" fmla="*/ 700 h 1842"/>
                  <a:gd name="T52" fmla="*/ 1188 w 1209"/>
                  <a:gd name="T53" fmla="*/ 586 h 1842"/>
                  <a:gd name="T54" fmla="*/ 1169 w 1209"/>
                  <a:gd name="T55" fmla="*/ 473 h 1842"/>
                  <a:gd name="T56" fmla="*/ 1142 w 1209"/>
                  <a:gd name="T57" fmla="*/ 363 h 1842"/>
                  <a:gd name="T58" fmla="*/ 1109 w 1209"/>
                  <a:gd name="T59" fmla="*/ 257 h 1842"/>
                  <a:gd name="T60" fmla="*/ 1070 w 1209"/>
                  <a:gd name="T61" fmla="*/ 152 h 1842"/>
                  <a:gd name="T62" fmla="*/ 1026 w 1209"/>
                  <a:gd name="T63" fmla="*/ 49 h 1842"/>
                  <a:gd name="T64" fmla="*/ 1002 w 1209"/>
                  <a:gd name="T65" fmla="*/ 0 h 18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09" h="1842">
                    <a:moveTo>
                      <a:pt x="1002" y="0"/>
                    </a:moveTo>
                    <a:lnTo>
                      <a:pt x="678" y="534"/>
                    </a:lnTo>
                    <a:lnTo>
                      <a:pt x="52" y="551"/>
                    </a:lnTo>
                    <a:lnTo>
                      <a:pt x="66" y="588"/>
                    </a:lnTo>
                    <a:lnTo>
                      <a:pt x="89" y="667"/>
                    </a:lnTo>
                    <a:lnTo>
                      <a:pt x="106" y="748"/>
                    </a:lnTo>
                    <a:lnTo>
                      <a:pt x="114" y="832"/>
                    </a:lnTo>
                    <a:lnTo>
                      <a:pt x="115" y="875"/>
                    </a:lnTo>
                    <a:lnTo>
                      <a:pt x="114" y="933"/>
                    </a:lnTo>
                    <a:lnTo>
                      <a:pt x="98" y="1046"/>
                    </a:lnTo>
                    <a:lnTo>
                      <a:pt x="70" y="1152"/>
                    </a:lnTo>
                    <a:lnTo>
                      <a:pt x="27" y="1255"/>
                    </a:lnTo>
                    <a:lnTo>
                      <a:pt x="0" y="1301"/>
                    </a:lnTo>
                    <a:lnTo>
                      <a:pt x="324" y="1829"/>
                    </a:lnTo>
                    <a:lnTo>
                      <a:pt x="952" y="1842"/>
                    </a:lnTo>
                    <a:lnTo>
                      <a:pt x="982" y="1789"/>
                    </a:lnTo>
                    <a:lnTo>
                      <a:pt x="1037" y="1677"/>
                    </a:lnTo>
                    <a:lnTo>
                      <a:pt x="1085" y="1563"/>
                    </a:lnTo>
                    <a:lnTo>
                      <a:pt x="1125" y="1444"/>
                    </a:lnTo>
                    <a:lnTo>
                      <a:pt x="1158" y="1323"/>
                    </a:lnTo>
                    <a:lnTo>
                      <a:pt x="1183" y="1198"/>
                    </a:lnTo>
                    <a:lnTo>
                      <a:pt x="1200" y="1070"/>
                    </a:lnTo>
                    <a:lnTo>
                      <a:pt x="1209" y="941"/>
                    </a:lnTo>
                    <a:lnTo>
                      <a:pt x="1209" y="875"/>
                    </a:lnTo>
                    <a:lnTo>
                      <a:pt x="1209" y="816"/>
                    </a:lnTo>
                    <a:lnTo>
                      <a:pt x="1203" y="700"/>
                    </a:lnTo>
                    <a:lnTo>
                      <a:pt x="1188" y="586"/>
                    </a:lnTo>
                    <a:lnTo>
                      <a:pt x="1169" y="473"/>
                    </a:lnTo>
                    <a:lnTo>
                      <a:pt x="1142" y="363"/>
                    </a:lnTo>
                    <a:lnTo>
                      <a:pt x="1109" y="257"/>
                    </a:lnTo>
                    <a:lnTo>
                      <a:pt x="1070" y="152"/>
                    </a:lnTo>
                    <a:lnTo>
                      <a:pt x="1026" y="49"/>
                    </a:lnTo>
                    <a:lnTo>
                      <a:pt x="1002" y="0"/>
                    </a:lnTo>
                    <a:close/>
                  </a:path>
                </a:pathLst>
              </a:custGeom>
              <a:solidFill>
                <a:srgbClr val="DCDEE3">
                  <a:alpha val="50196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1031" name="Freeform 30">
                <a:extLst>
                  <a:ext uri="{FF2B5EF4-FFF2-40B4-BE49-F238E27FC236}">
                    <a16:creationId xmlns:a16="http://schemas.microsoft.com/office/drawing/2014/main" id="{F356F461-C722-521B-8812-4CDB905BEF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6343" y="1243159"/>
                <a:ext cx="1933056" cy="1854357"/>
              </a:xfrm>
              <a:custGeom>
                <a:avLst/>
                <a:gdLst>
                  <a:gd name="T0" fmla="*/ 6 w 1572"/>
                  <a:gd name="T1" fmla="*/ 0 h 1511"/>
                  <a:gd name="T2" fmla="*/ 303 w 1572"/>
                  <a:gd name="T3" fmla="*/ 541 h 1511"/>
                  <a:gd name="T4" fmla="*/ 0 w 1572"/>
                  <a:gd name="T5" fmla="*/ 1099 h 1511"/>
                  <a:gd name="T6" fmla="*/ 50 w 1572"/>
                  <a:gd name="T7" fmla="*/ 1106 h 1511"/>
                  <a:gd name="T8" fmla="*/ 146 w 1572"/>
                  <a:gd name="T9" fmla="*/ 1129 h 1511"/>
                  <a:gd name="T10" fmla="*/ 238 w 1572"/>
                  <a:gd name="T11" fmla="*/ 1164 h 1511"/>
                  <a:gd name="T12" fmla="*/ 325 w 1572"/>
                  <a:gd name="T13" fmla="*/ 1208 h 1511"/>
                  <a:gd name="T14" fmla="*/ 406 w 1572"/>
                  <a:gd name="T15" fmla="*/ 1261 h 1511"/>
                  <a:gd name="T16" fmla="*/ 478 w 1572"/>
                  <a:gd name="T17" fmla="*/ 1324 h 1511"/>
                  <a:gd name="T18" fmla="*/ 544 w 1572"/>
                  <a:gd name="T19" fmla="*/ 1394 h 1511"/>
                  <a:gd name="T20" fmla="*/ 603 w 1572"/>
                  <a:gd name="T21" fmla="*/ 1470 h 1511"/>
                  <a:gd name="T22" fmla="*/ 628 w 1572"/>
                  <a:gd name="T23" fmla="*/ 1511 h 1511"/>
                  <a:gd name="T24" fmla="*/ 1245 w 1572"/>
                  <a:gd name="T25" fmla="*/ 1495 h 1511"/>
                  <a:gd name="T26" fmla="*/ 1572 w 1572"/>
                  <a:gd name="T27" fmla="*/ 958 h 1511"/>
                  <a:gd name="T28" fmla="*/ 1542 w 1572"/>
                  <a:gd name="T29" fmla="*/ 906 h 1511"/>
                  <a:gd name="T30" fmla="*/ 1476 w 1572"/>
                  <a:gd name="T31" fmla="*/ 809 h 1511"/>
                  <a:gd name="T32" fmla="*/ 1404 w 1572"/>
                  <a:gd name="T33" fmla="*/ 716 h 1511"/>
                  <a:gd name="T34" fmla="*/ 1327 w 1572"/>
                  <a:gd name="T35" fmla="*/ 626 h 1511"/>
                  <a:gd name="T36" fmla="*/ 1245 w 1572"/>
                  <a:gd name="T37" fmla="*/ 542 h 1511"/>
                  <a:gd name="T38" fmla="*/ 1157 w 1572"/>
                  <a:gd name="T39" fmla="*/ 463 h 1511"/>
                  <a:gd name="T40" fmla="*/ 1065 w 1572"/>
                  <a:gd name="T41" fmla="*/ 389 h 1511"/>
                  <a:gd name="T42" fmla="*/ 969 w 1572"/>
                  <a:gd name="T43" fmla="*/ 320 h 1511"/>
                  <a:gd name="T44" fmla="*/ 870 w 1572"/>
                  <a:gd name="T45" fmla="*/ 258 h 1511"/>
                  <a:gd name="T46" fmla="*/ 765 w 1572"/>
                  <a:gd name="T47" fmla="*/ 202 h 1511"/>
                  <a:gd name="T48" fmla="*/ 657 w 1572"/>
                  <a:gd name="T49" fmla="*/ 152 h 1511"/>
                  <a:gd name="T50" fmla="*/ 544 w 1572"/>
                  <a:gd name="T51" fmla="*/ 109 h 1511"/>
                  <a:gd name="T52" fmla="*/ 430 w 1572"/>
                  <a:gd name="T53" fmla="*/ 71 h 1511"/>
                  <a:gd name="T54" fmla="*/ 312 w 1572"/>
                  <a:gd name="T55" fmla="*/ 42 h 1511"/>
                  <a:gd name="T56" fmla="*/ 192 w 1572"/>
                  <a:gd name="T57" fmla="*/ 20 h 1511"/>
                  <a:gd name="T58" fmla="*/ 69 w 1572"/>
                  <a:gd name="T59" fmla="*/ 5 h 1511"/>
                  <a:gd name="T60" fmla="*/ 6 w 1572"/>
                  <a:gd name="T61" fmla="*/ 0 h 1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572" h="1511">
                    <a:moveTo>
                      <a:pt x="6" y="0"/>
                    </a:moveTo>
                    <a:lnTo>
                      <a:pt x="303" y="541"/>
                    </a:lnTo>
                    <a:lnTo>
                      <a:pt x="0" y="1099"/>
                    </a:lnTo>
                    <a:lnTo>
                      <a:pt x="50" y="1106"/>
                    </a:lnTo>
                    <a:lnTo>
                      <a:pt x="146" y="1129"/>
                    </a:lnTo>
                    <a:lnTo>
                      <a:pt x="238" y="1164"/>
                    </a:lnTo>
                    <a:lnTo>
                      <a:pt x="325" y="1208"/>
                    </a:lnTo>
                    <a:lnTo>
                      <a:pt x="406" y="1261"/>
                    </a:lnTo>
                    <a:lnTo>
                      <a:pt x="478" y="1324"/>
                    </a:lnTo>
                    <a:lnTo>
                      <a:pt x="544" y="1394"/>
                    </a:lnTo>
                    <a:lnTo>
                      <a:pt x="603" y="1470"/>
                    </a:lnTo>
                    <a:lnTo>
                      <a:pt x="628" y="1511"/>
                    </a:lnTo>
                    <a:lnTo>
                      <a:pt x="1245" y="1495"/>
                    </a:lnTo>
                    <a:lnTo>
                      <a:pt x="1572" y="958"/>
                    </a:lnTo>
                    <a:lnTo>
                      <a:pt x="1542" y="906"/>
                    </a:lnTo>
                    <a:lnTo>
                      <a:pt x="1476" y="809"/>
                    </a:lnTo>
                    <a:lnTo>
                      <a:pt x="1404" y="716"/>
                    </a:lnTo>
                    <a:lnTo>
                      <a:pt x="1327" y="626"/>
                    </a:lnTo>
                    <a:lnTo>
                      <a:pt x="1245" y="542"/>
                    </a:lnTo>
                    <a:lnTo>
                      <a:pt x="1157" y="463"/>
                    </a:lnTo>
                    <a:lnTo>
                      <a:pt x="1065" y="389"/>
                    </a:lnTo>
                    <a:lnTo>
                      <a:pt x="969" y="320"/>
                    </a:lnTo>
                    <a:lnTo>
                      <a:pt x="870" y="258"/>
                    </a:lnTo>
                    <a:lnTo>
                      <a:pt x="765" y="202"/>
                    </a:lnTo>
                    <a:lnTo>
                      <a:pt x="657" y="152"/>
                    </a:lnTo>
                    <a:lnTo>
                      <a:pt x="544" y="109"/>
                    </a:lnTo>
                    <a:lnTo>
                      <a:pt x="430" y="71"/>
                    </a:lnTo>
                    <a:lnTo>
                      <a:pt x="312" y="42"/>
                    </a:lnTo>
                    <a:lnTo>
                      <a:pt x="192" y="20"/>
                    </a:lnTo>
                    <a:lnTo>
                      <a:pt x="69" y="5"/>
                    </a:lnTo>
                    <a:lnTo>
                      <a:pt x="6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1032" name="Freeform 1164">
                <a:extLst>
                  <a:ext uri="{FF2B5EF4-FFF2-40B4-BE49-F238E27FC236}">
                    <a16:creationId xmlns:a16="http://schemas.microsoft.com/office/drawing/2014/main" id="{F35C937F-B688-34BE-50F7-0C59B71690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6346" y="1243159"/>
                <a:ext cx="1933056" cy="1854357"/>
              </a:xfrm>
              <a:custGeom>
                <a:avLst/>
                <a:gdLst>
                  <a:gd name="T0" fmla="*/ 0 w 1572"/>
                  <a:gd name="T1" fmla="*/ 1099 h 1511"/>
                  <a:gd name="T2" fmla="*/ 50 w 1572"/>
                  <a:gd name="T3" fmla="*/ 1106 h 1511"/>
                  <a:gd name="T4" fmla="*/ 146 w 1572"/>
                  <a:gd name="T5" fmla="*/ 1129 h 1511"/>
                  <a:gd name="T6" fmla="*/ 238 w 1572"/>
                  <a:gd name="T7" fmla="*/ 1164 h 1511"/>
                  <a:gd name="T8" fmla="*/ 325 w 1572"/>
                  <a:gd name="T9" fmla="*/ 1208 h 1511"/>
                  <a:gd name="T10" fmla="*/ 406 w 1572"/>
                  <a:gd name="T11" fmla="*/ 1261 h 1511"/>
                  <a:gd name="T12" fmla="*/ 478 w 1572"/>
                  <a:gd name="T13" fmla="*/ 1324 h 1511"/>
                  <a:gd name="T14" fmla="*/ 544 w 1572"/>
                  <a:gd name="T15" fmla="*/ 1394 h 1511"/>
                  <a:gd name="T16" fmla="*/ 603 w 1572"/>
                  <a:gd name="T17" fmla="*/ 1470 h 1511"/>
                  <a:gd name="T18" fmla="*/ 628 w 1572"/>
                  <a:gd name="T19" fmla="*/ 1511 h 1511"/>
                  <a:gd name="T20" fmla="*/ 1245 w 1572"/>
                  <a:gd name="T21" fmla="*/ 1495 h 1511"/>
                  <a:gd name="T22" fmla="*/ 1572 w 1572"/>
                  <a:gd name="T23" fmla="*/ 958 h 1511"/>
                  <a:gd name="T24" fmla="*/ 1542 w 1572"/>
                  <a:gd name="T25" fmla="*/ 906 h 1511"/>
                  <a:gd name="T26" fmla="*/ 1476 w 1572"/>
                  <a:gd name="T27" fmla="*/ 809 h 1511"/>
                  <a:gd name="T28" fmla="*/ 1404 w 1572"/>
                  <a:gd name="T29" fmla="*/ 716 h 1511"/>
                  <a:gd name="T30" fmla="*/ 1327 w 1572"/>
                  <a:gd name="T31" fmla="*/ 626 h 1511"/>
                  <a:gd name="T32" fmla="*/ 1245 w 1572"/>
                  <a:gd name="T33" fmla="*/ 542 h 1511"/>
                  <a:gd name="T34" fmla="*/ 1157 w 1572"/>
                  <a:gd name="T35" fmla="*/ 463 h 1511"/>
                  <a:gd name="T36" fmla="*/ 1065 w 1572"/>
                  <a:gd name="T37" fmla="*/ 389 h 1511"/>
                  <a:gd name="T38" fmla="*/ 969 w 1572"/>
                  <a:gd name="T39" fmla="*/ 320 h 1511"/>
                  <a:gd name="T40" fmla="*/ 870 w 1572"/>
                  <a:gd name="T41" fmla="*/ 258 h 1511"/>
                  <a:gd name="T42" fmla="*/ 765 w 1572"/>
                  <a:gd name="T43" fmla="*/ 202 h 1511"/>
                  <a:gd name="T44" fmla="*/ 657 w 1572"/>
                  <a:gd name="T45" fmla="*/ 152 h 1511"/>
                  <a:gd name="T46" fmla="*/ 544 w 1572"/>
                  <a:gd name="T47" fmla="*/ 109 h 1511"/>
                  <a:gd name="T48" fmla="*/ 430 w 1572"/>
                  <a:gd name="T49" fmla="*/ 71 h 1511"/>
                  <a:gd name="T50" fmla="*/ 312 w 1572"/>
                  <a:gd name="T51" fmla="*/ 42 h 1511"/>
                  <a:gd name="T52" fmla="*/ 192 w 1572"/>
                  <a:gd name="T53" fmla="*/ 20 h 1511"/>
                  <a:gd name="T54" fmla="*/ 69 w 1572"/>
                  <a:gd name="T55" fmla="*/ 5 h 1511"/>
                  <a:gd name="T56" fmla="*/ 6 w 1572"/>
                  <a:gd name="T57" fmla="*/ 0 h 1511"/>
                  <a:gd name="T58" fmla="*/ 303 w 1572"/>
                  <a:gd name="T59" fmla="*/ 541 h 1511"/>
                  <a:gd name="T60" fmla="*/ 0 w 1572"/>
                  <a:gd name="T61" fmla="*/ 1099 h 1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572" h="1511">
                    <a:moveTo>
                      <a:pt x="0" y="1099"/>
                    </a:moveTo>
                    <a:lnTo>
                      <a:pt x="50" y="1106"/>
                    </a:lnTo>
                    <a:lnTo>
                      <a:pt x="146" y="1129"/>
                    </a:lnTo>
                    <a:lnTo>
                      <a:pt x="238" y="1164"/>
                    </a:lnTo>
                    <a:lnTo>
                      <a:pt x="325" y="1208"/>
                    </a:lnTo>
                    <a:lnTo>
                      <a:pt x="406" y="1261"/>
                    </a:lnTo>
                    <a:lnTo>
                      <a:pt x="478" y="1324"/>
                    </a:lnTo>
                    <a:lnTo>
                      <a:pt x="544" y="1394"/>
                    </a:lnTo>
                    <a:lnTo>
                      <a:pt x="603" y="1470"/>
                    </a:lnTo>
                    <a:lnTo>
                      <a:pt x="628" y="1511"/>
                    </a:lnTo>
                    <a:lnTo>
                      <a:pt x="1245" y="1495"/>
                    </a:lnTo>
                    <a:lnTo>
                      <a:pt x="1572" y="958"/>
                    </a:lnTo>
                    <a:lnTo>
                      <a:pt x="1542" y="906"/>
                    </a:lnTo>
                    <a:lnTo>
                      <a:pt x="1476" y="809"/>
                    </a:lnTo>
                    <a:lnTo>
                      <a:pt x="1404" y="716"/>
                    </a:lnTo>
                    <a:lnTo>
                      <a:pt x="1327" y="626"/>
                    </a:lnTo>
                    <a:lnTo>
                      <a:pt x="1245" y="542"/>
                    </a:lnTo>
                    <a:lnTo>
                      <a:pt x="1157" y="463"/>
                    </a:lnTo>
                    <a:lnTo>
                      <a:pt x="1065" y="389"/>
                    </a:lnTo>
                    <a:lnTo>
                      <a:pt x="969" y="320"/>
                    </a:lnTo>
                    <a:lnTo>
                      <a:pt x="870" y="258"/>
                    </a:lnTo>
                    <a:lnTo>
                      <a:pt x="765" y="202"/>
                    </a:lnTo>
                    <a:lnTo>
                      <a:pt x="657" y="152"/>
                    </a:lnTo>
                    <a:lnTo>
                      <a:pt x="544" y="109"/>
                    </a:lnTo>
                    <a:lnTo>
                      <a:pt x="430" y="71"/>
                    </a:lnTo>
                    <a:lnTo>
                      <a:pt x="312" y="42"/>
                    </a:lnTo>
                    <a:lnTo>
                      <a:pt x="192" y="20"/>
                    </a:lnTo>
                    <a:lnTo>
                      <a:pt x="69" y="5"/>
                    </a:lnTo>
                    <a:lnTo>
                      <a:pt x="6" y="0"/>
                    </a:lnTo>
                    <a:lnTo>
                      <a:pt x="303" y="541"/>
                    </a:lnTo>
                    <a:lnTo>
                      <a:pt x="0" y="1099"/>
                    </a:lnTo>
                    <a:close/>
                  </a:path>
                </a:pathLst>
              </a:custGeom>
              <a:solidFill>
                <a:srgbClr val="DCDEE3">
                  <a:alpha val="50196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1033" name="Freeform 1166">
                <a:extLst>
                  <a:ext uri="{FF2B5EF4-FFF2-40B4-BE49-F238E27FC236}">
                    <a16:creationId xmlns:a16="http://schemas.microsoft.com/office/drawing/2014/main" id="{0C90D3BF-CB96-2CA0-589D-174E59B66B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1461" y="1238239"/>
                <a:ext cx="2346228" cy="1760900"/>
              </a:xfrm>
              <a:custGeom>
                <a:avLst/>
                <a:gdLst>
                  <a:gd name="T0" fmla="*/ 943 w 1905"/>
                  <a:gd name="T1" fmla="*/ 1432 h 1432"/>
                  <a:gd name="T2" fmla="*/ 972 w 1905"/>
                  <a:gd name="T3" fmla="*/ 1394 h 1432"/>
                  <a:gd name="T4" fmla="*/ 1037 w 1905"/>
                  <a:gd name="T5" fmla="*/ 1326 h 1432"/>
                  <a:gd name="T6" fmla="*/ 1109 w 1905"/>
                  <a:gd name="T7" fmla="*/ 1265 h 1432"/>
                  <a:gd name="T8" fmla="*/ 1188 w 1905"/>
                  <a:gd name="T9" fmla="*/ 1211 h 1432"/>
                  <a:gd name="T10" fmla="*/ 1272 w 1905"/>
                  <a:gd name="T11" fmla="*/ 1167 h 1432"/>
                  <a:gd name="T12" fmla="*/ 1362 w 1905"/>
                  <a:gd name="T13" fmla="*/ 1134 h 1432"/>
                  <a:gd name="T14" fmla="*/ 1457 w 1905"/>
                  <a:gd name="T15" fmla="*/ 1109 h 1432"/>
                  <a:gd name="T16" fmla="*/ 1555 w 1905"/>
                  <a:gd name="T17" fmla="*/ 1096 h 1432"/>
                  <a:gd name="T18" fmla="*/ 1606 w 1905"/>
                  <a:gd name="T19" fmla="*/ 1095 h 1432"/>
                  <a:gd name="T20" fmla="*/ 1905 w 1905"/>
                  <a:gd name="T21" fmla="*/ 544 h 1432"/>
                  <a:gd name="T22" fmla="*/ 1607 w 1905"/>
                  <a:gd name="T23" fmla="*/ 0 h 1432"/>
                  <a:gd name="T24" fmla="*/ 1543 w 1905"/>
                  <a:gd name="T25" fmla="*/ 1 h 1432"/>
                  <a:gd name="T26" fmla="*/ 1420 w 1905"/>
                  <a:gd name="T27" fmla="*/ 10 h 1432"/>
                  <a:gd name="T28" fmla="*/ 1298 w 1905"/>
                  <a:gd name="T29" fmla="*/ 26 h 1432"/>
                  <a:gd name="T30" fmla="*/ 1179 w 1905"/>
                  <a:gd name="T31" fmla="*/ 50 h 1432"/>
                  <a:gd name="T32" fmla="*/ 1062 w 1905"/>
                  <a:gd name="T33" fmla="*/ 80 h 1432"/>
                  <a:gd name="T34" fmla="*/ 950 w 1905"/>
                  <a:gd name="T35" fmla="*/ 119 h 1432"/>
                  <a:gd name="T36" fmla="*/ 840 w 1905"/>
                  <a:gd name="T37" fmla="*/ 163 h 1432"/>
                  <a:gd name="T38" fmla="*/ 733 w 1905"/>
                  <a:gd name="T39" fmla="*/ 213 h 1432"/>
                  <a:gd name="T40" fmla="*/ 630 w 1905"/>
                  <a:gd name="T41" fmla="*/ 270 h 1432"/>
                  <a:gd name="T42" fmla="*/ 531 w 1905"/>
                  <a:gd name="T43" fmla="*/ 333 h 1432"/>
                  <a:gd name="T44" fmla="*/ 436 w 1905"/>
                  <a:gd name="T45" fmla="*/ 401 h 1432"/>
                  <a:gd name="T46" fmla="*/ 346 w 1905"/>
                  <a:gd name="T47" fmla="*/ 475 h 1432"/>
                  <a:gd name="T48" fmla="*/ 260 w 1905"/>
                  <a:gd name="T49" fmla="*/ 556 h 1432"/>
                  <a:gd name="T50" fmla="*/ 179 w 1905"/>
                  <a:gd name="T51" fmla="*/ 639 h 1432"/>
                  <a:gd name="T52" fmla="*/ 103 w 1905"/>
                  <a:gd name="T53" fmla="*/ 728 h 1432"/>
                  <a:gd name="T54" fmla="*/ 32 w 1905"/>
                  <a:gd name="T55" fmla="*/ 821 h 1432"/>
                  <a:gd name="T56" fmla="*/ 0 w 1905"/>
                  <a:gd name="T57" fmla="*/ 871 h 1432"/>
                  <a:gd name="T58" fmla="*/ 606 w 1905"/>
                  <a:gd name="T59" fmla="*/ 884 h 1432"/>
                  <a:gd name="T60" fmla="*/ 943 w 1905"/>
                  <a:gd name="T61" fmla="*/ 1432 h 1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05" h="1432">
                    <a:moveTo>
                      <a:pt x="943" y="1432"/>
                    </a:moveTo>
                    <a:lnTo>
                      <a:pt x="972" y="1394"/>
                    </a:lnTo>
                    <a:lnTo>
                      <a:pt x="1037" y="1326"/>
                    </a:lnTo>
                    <a:lnTo>
                      <a:pt x="1109" y="1265"/>
                    </a:lnTo>
                    <a:lnTo>
                      <a:pt x="1188" y="1211"/>
                    </a:lnTo>
                    <a:lnTo>
                      <a:pt x="1272" y="1167"/>
                    </a:lnTo>
                    <a:lnTo>
                      <a:pt x="1362" y="1134"/>
                    </a:lnTo>
                    <a:lnTo>
                      <a:pt x="1457" y="1109"/>
                    </a:lnTo>
                    <a:lnTo>
                      <a:pt x="1555" y="1096"/>
                    </a:lnTo>
                    <a:lnTo>
                      <a:pt x="1606" y="1095"/>
                    </a:lnTo>
                    <a:lnTo>
                      <a:pt x="1905" y="544"/>
                    </a:lnTo>
                    <a:lnTo>
                      <a:pt x="1607" y="0"/>
                    </a:lnTo>
                    <a:lnTo>
                      <a:pt x="1543" y="1"/>
                    </a:lnTo>
                    <a:lnTo>
                      <a:pt x="1420" y="10"/>
                    </a:lnTo>
                    <a:lnTo>
                      <a:pt x="1298" y="26"/>
                    </a:lnTo>
                    <a:lnTo>
                      <a:pt x="1179" y="50"/>
                    </a:lnTo>
                    <a:lnTo>
                      <a:pt x="1062" y="80"/>
                    </a:lnTo>
                    <a:lnTo>
                      <a:pt x="950" y="119"/>
                    </a:lnTo>
                    <a:lnTo>
                      <a:pt x="840" y="163"/>
                    </a:lnTo>
                    <a:lnTo>
                      <a:pt x="733" y="213"/>
                    </a:lnTo>
                    <a:lnTo>
                      <a:pt x="630" y="270"/>
                    </a:lnTo>
                    <a:lnTo>
                      <a:pt x="531" y="333"/>
                    </a:lnTo>
                    <a:lnTo>
                      <a:pt x="436" y="401"/>
                    </a:lnTo>
                    <a:lnTo>
                      <a:pt x="346" y="475"/>
                    </a:lnTo>
                    <a:lnTo>
                      <a:pt x="260" y="556"/>
                    </a:lnTo>
                    <a:lnTo>
                      <a:pt x="179" y="639"/>
                    </a:lnTo>
                    <a:lnTo>
                      <a:pt x="103" y="728"/>
                    </a:lnTo>
                    <a:lnTo>
                      <a:pt x="32" y="821"/>
                    </a:lnTo>
                    <a:lnTo>
                      <a:pt x="0" y="871"/>
                    </a:lnTo>
                    <a:lnTo>
                      <a:pt x="606" y="884"/>
                    </a:lnTo>
                    <a:lnTo>
                      <a:pt x="943" y="1432"/>
                    </a:lnTo>
                    <a:close/>
                  </a:path>
                </a:pathLst>
              </a:custGeom>
              <a:solidFill>
                <a:srgbClr val="3FBE80"/>
              </a:solidFill>
              <a:ln w="57150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vert="horz" wrap="square" lIns="5486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400" b="1"/>
              </a:p>
            </p:txBody>
          </p:sp>
          <p:sp>
            <p:nvSpPr>
              <p:cNvPr id="1034" name="Freeform 1167">
                <a:extLst>
                  <a:ext uri="{FF2B5EF4-FFF2-40B4-BE49-F238E27FC236}">
                    <a16:creationId xmlns:a16="http://schemas.microsoft.com/office/drawing/2014/main" id="{008F2D84-5303-BF80-900F-34082E11B8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3044" y="2438405"/>
                <a:ext cx="1480535" cy="2247854"/>
              </a:xfrm>
              <a:custGeom>
                <a:avLst/>
                <a:gdLst>
                  <a:gd name="T0" fmla="*/ 1158 w 1201"/>
                  <a:gd name="T1" fmla="*/ 1290 h 1826"/>
                  <a:gd name="T2" fmla="*/ 1144 w 1201"/>
                  <a:gd name="T3" fmla="*/ 1252 h 1826"/>
                  <a:gd name="T4" fmla="*/ 1119 w 1201"/>
                  <a:gd name="T5" fmla="*/ 1174 h 1826"/>
                  <a:gd name="T6" fmla="*/ 1104 w 1201"/>
                  <a:gd name="T7" fmla="*/ 1093 h 1826"/>
                  <a:gd name="T8" fmla="*/ 1095 w 1201"/>
                  <a:gd name="T9" fmla="*/ 1010 h 1826"/>
                  <a:gd name="T10" fmla="*/ 1095 w 1201"/>
                  <a:gd name="T11" fmla="*/ 967 h 1826"/>
                  <a:gd name="T12" fmla="*/ 1096 w 1201"/>
                  <a:gd name="T13" fmla="*/ 911 h 1826"/>
                  <a:gd name="T14" fmla="*/ 1110 w 1201"/>
                  <a:gd name="T15" fmla="*/ 802 h 1826"/>
                  <a:gd name="T16" fmla="*/ 1138 w 1201"/>
                  <a:gd name="T17" fmla="*/ 698 h 1826"/>
                  <a:gd name="T18" fmla="*/ 1177 w 1201"/>
                  <a:gd name="T19" fmla="*/ 601 h 1826"/>
                  <a:gd name="T20" fmla="*/ 1201 w 1201"/>
                  <a:gd name="T21" fmla="*/ 555 h 1826"/>
                  <a:gd name="T22" fmla="*/ 869 w 1201"/>
                  <a:gd name="T23" fmla="*/ 13 h 1826"/>
                  <a:gd name="T24" fmla="*/ 258 w 1201"/>
                  <a:gd name="T25" fmla="*/ 0 h 1826"/>
                  <a:gd name="T26" fmla="*/ 228 w 1201"/>
                  <a:gd name="T27" fmla="*/ 53 h 1826"/>
                  <a:gd name="T28" fmla="*/ 173 w 1201"/>
                  <a:gd name="T29" fmla="*/ 164 h 1826"/>
                  <a:gd name="T30" fmla="*/ 125 w 1201"/>
                  <a:gd name="T31" fmla="*/ 279 h 1826"/>
                  <a:gd name="T32" fmla="*/ 85 w 1201"/>
                  <a:gd name="T33" fmla="*/ 398 h 1826"/>
                  <a:gd name="T34" fmla="*/ 51 w 1201"/>
                  <a:gd name="T35" fmla="*/ 520 h 1826"/>
                  <a:gd name="T36" fmla="*/ 27 w 1201"/>
                  <a:gd name="T37" fmla="*/ 644 h 1826"/>
                  <a:gd name="T38" fmla="*/ 10 w 1201"/>
                  <a:gd name="T39" fmla="*/ 771 h 1826"/>
                  <a:gd name="T40" fmla="*/ 1 w 1201"/>
                  <a:gd name="T41" fmla="*/ 901 h 1826"/>
                  <a:gd name="T42" fmla="*/ 0 w 1201"/>
                  <a:gd name="T43" fmla="*/ 967 h 1826"/>
                  <a:gd name="T44" fmla="*/ 1 w 1201"/>
                  <a:gd name="T45" fmla="*/ 1024 h 1826"/>
                  <a:gd name="T46" fmla="*/ 7 w 1201"/>
                  <a:gd name="T47" fmla="*/ 1138 h 1826"/>
                  <a:gd name="T48" fmla="*/ 20 w 1201"/>
                  <a:gd name="T49" fmla="*/ 1251 h 1826"/>
                  <a:gd name="T50" fmla="*/ 40 w 1201"/>
                  <a:gd name="T51" fmla="*/ 1361 h 1826"/>
                  <a:gd name="T52" fmla="*/ 66 w 1201"/>
                  <a:gd name="T53" fmla="*/ 1468 h 1826"/>
                  <a:gd name="T54" fmla="*/ 97 w 1201"/>
                  <a:gd name="T55" fmla="*/ 1573 h 1826"/>
                  <a:gd name="T56" fmla="*/ 134 w 1201"/>
                  <a:gd name="T57" fmla="*/ 1677 h 1826"/>
                  <a:gd name="T58" fmla="*/ 176 w 1201"/>
                  <a:gd name="T59" fmla="*/ 1777 h 1826"/>
                  <a:gd name="T60" fmla="*/ 201 w 1201"/>
                  <a:gd name="T61" fmla="*/ 1826 h 1826"/>
                  <a:gd name="T62" fmla="*/ 514 w 1201"/>
                  <a:gd name="T63" fmla="*/ 1306 h 1826"/>
                  <a:gd name="T64" fmla="*/ 1158 w 1201"/>
                  <a:gd name="T65" fmla="*/ 1290 h 18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01" h="1826">
                    <a:moveTo>
                      <a:pt x="1158" y="1290"/>
                    </a:moveTo>
                    <a:lnTo>
                      <a:pt x="1144" y="1252"/>
                    </a:lnTo>
                    <a:lnTo>
                      <a:pt x="1119" y="1174"/>
                    </a:lnTo>
                    <a:lnTo>
                      <a:pt x="1104" y="1093"/>
                    </a:lnTo>
                    <a:lnTo>
                      <a:pt x="1095" y="1010"/>
                    </a:lnTo>
                    <a:lnTo>
                      <a:pt x="1095" y="967"/>
                    </a:lnTo>
                    <a:lnTo>
                      <a:pt x="1096" y="911"/>
                    </a:lnTo>
                    <a:lnTo>
                      <a:pt x="1110" y="802"/>
                    </a:lnTo>
                    <a:lnTo>
                      <a:pt x="1138" y="698"/>
                    </a:lnTo>
                    <a:lnTo>
                      <a:pt x="1177" y="601"/>
                    </a:lnTo>
                    <a:lnTo>
                      <a:pt x="1201" y="555"/>
                    </a:lnTo>
                    <a:lnTo>
                      <a:pt x="869" y="13"/>
                    </a:lnTo>
                    <a:lnTo>
                      <a:pt x="258" y="0"/>
                    </a:lnTo>
                    <a:lnTo>
                      <a:pt x="228" y="53"/>
                    </a:lnTo>
                    <a:lnTo>
                      <a:pt x="173" y="164"/>
                    </a:lnTo>
                    <a:lnTo>
                      <a:pt x="125" y="279"/>
                    </a:lnTo>
                    <a:lnTo>
                      <a:pt x="85" y="398"/>
                    </a:lnTo>
                    <a:lnTo>
                      <a:pt x="51" y="520"/>
                    </a:lnTo>
                    <a:lnTo>
                      <a:pt x="27" y="644"/>
                    </a:lnTo>
                    <a:lnTo>
                      <a:pt x="10" y="771"/>
                    </a:lnTo>
                    <a:lnTo>
                      <a:pt x="1" y="901"/>
                    </a:lnTo>
                    <a:lnTo>
                      <a:pt x="0" y="967"/>
                    </a:lnTo>
                    <a:lnTo>
                      <a:pt x="1" y="1024"/>
                    </a:lnTo>
                    <a:lnTo>
                      <a:pt x="7" y="1138"/>
                    </a:lnTo>
                    <a:lnTo>
                      <a:pt x="20" y="1251"/>
                    </a:lnTo>
                    <a:lnTo>
                      <a:pt x="40" y="1361"/>
                    </a:lnTo>
                    <a:lnTo>
                      <a:pt x="66" y="1468"/>
                    </a:lnTo>
                    <a:lnTo>
                      <a:pt x="97" y="1573"/>
                    </a:lnTo>
                    <a:lnTo>
                      <a:pt x="134" y="1677"/>
                    </a:lnTo>
                    <a:lnTo>
                      <a:pt x="176" y="1777"/>
                    </a:lnTo>
                    <a:lnTo>
                      <a:pt x="201" y="1826"/>
                    </a:lnTo>
                    <a:lnTo>
                      <a:pt x="514" y="1306"/>
                    </a:lnTo>
                    <a:lnTo>
                      <a:pt x="1158" y="1290"/>
                    </a:lnTo>
                    <a:close/>
                  </a:path>
                </a:pathLst>
              </a:custGeom>
              <a:solidFill>
                <a:srgbClr val="DCDEE3">
                  <a:alpha val="50196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36576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400" b="1"/>
              </a:p>
            </p:txBody>
          </p:sp>
          <p:sp>
            <p:nvSpPr>
              <p:cNvPr id="1035" name="Freeform 1168">
                <a:extLst>
                  <a:ext uri="{FF2B5EF4-FFF2-40B4-BE49-F238E27FC236}">
                    <a16:creationId xmlns:a16="http://schemas.microsoft.com/office/drawing/2014/main" id="{E73C8044-3125-295A-DB5C-54EB34C1AF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2762" y="4159956"/>
                <a:ext cx="1923219" cy="1854357"/>
              </a:xfrm>
              <a:custGeom>
                <a:avLst/>
                <a:gdLst>
                  <a:gd name="T0" fmla="*/ 1564 w 1564"/>
                  <a:gd name="T1" fmla="*/ 411 h 1510"/>
                  <a:gd name="T2" fmla="*/ 1516 w 1564"/>
                  <a:gd name="T3" fmla="*/ 403 h 1510"/>
                  <a:gd name="T4" fmla="*/ 1422 w 1564"/>
                  <a:gd name="T5" fmla="*/ 379 h 1510"/>
                  <a:gd name="T6" fmla="*/ 1332 w 1564"/>
                  <a:gd name="T7" fmla="*/ 344 h 1510"/>
                  <a:gd name="T8" fmla="*/ 1248 w 1564"/>
                  <a:gd name="T9" fmla="*/ 298 h 1510"/>
                  <a:gd name="T10" fmla="*/ 1170 w 1564"/>
                  <a:gd name="T11" fmla="*/ 245 h 1510"/>
                  <a:gd name="T12" fmla="*/ 1099 w 1564"/>
                  <a:gd name="T13" fmla="*/ 184 h 1510"/>
                  <a:gd name="T14" fmla="*/ 1034 w 1564"/>
                  <a:gd name="T15" fmla="*/ 115 h 1510"/>
                  <a:gd name="T16" fmla="*/ 977 w 1564"/>
                  <a:gd name="T17" fmla="*/ 40 h 1510"/>
                  <a:gd name="T18" fmla="*/ 953 w 1564"/>
                  <a:gd name="T19" fmla="*/ 0 h 1510"/>
                  <a:gd name="T20" fmla="*/ 317 w 1564"/>
                  <a:gd name="T21" fmla="*/ 17 h 1510"/>
                  <a:gd name="T22" fmla="*/ 0 w 1564"/>
                  <a:gd name="T23" fmla="*/ 539 h 1510"/>
                  <a:gd name="T24" fmla="*/ 30 w 1564"/>
                  <a:gd name="T25" fmla="*/ 591 h 1510"/>
                  <a:gd name="T26" fmla="*/ 96 w 1564"/>
                  <a:gd name="T27" fmla="*/ 690 h 1510"/>
                  <a:gd name="T28" fmla="*/ 166 w 1564"/>
                  <a:gd name="T29" fmla="*/ 783 h 1510"/>
                  <a:gd name="T30" fmla="*/ 242 w 1564"/>
                  <a:gd name="T31" fmla="*/ 874 h 1510"/>
                  <a:gd name="T32" fmla="*/ 324 w 1564"/>
                  <a:gd name="T33" fmla="*/ 958 h 1510"/>
                  <a:gd name="T34" fmla="*/ 411 w 1564"/>
                  <a:gd name="T35" fmla="*/ 1038 h 1510"/>
                  <a:gd name="T36" fmla="*/ 501 w 1564"/>
                  <a:gd name="T37" fmla="*/ 1112 h 1510"/>
                  <a:gd name="T38" fmla="*/ 597 w 1564"/>
                  <a:gd name="T39" fmla="*/ 1181 h 1510"/>
                  <a:gd name="T40" fmla="*/ 697 w 1564"/>
                  <a:gd name="T41" fmla="*/ 1244 h 1510"/>
                  <a:gd name="T42" fmla="*/ 801 w 1564"/>
                  <a:gd name="T43" fmla="*/ 1301 h 1510"/>
                  <a:gd name="T44" fmla="*/ 908 w 1564"/>
                  <a:gd name="T45" fmla="*/ 1353 h 1510"/>
                  <a:gd name="T46" fmla="*/ 1020 w 1564"/>
                  <a:gd name="T47" fmla="*/ 1397 h 1510"/>
                  <a:gd name="T48" fmla="*/ 1134 w 1564"/>
                  <a:gd name="T49" fmla="*/ 1435 h 1510"/>
                  <a:gd name="T50" fmla="*/ 1252 w 1564"/>
                  <a:gd name="T51" fmla="*/ 1466 h 1510"/>
                  <a:gd name="T52" fmla="*/ 1371 w 1564"/>
                  <a:gd name="T53" fmla="*/ 1489 h 1510"/>
                  <a:gd name="T54" fmla="*/ 1494 w 1564"/>
                  <a:gd name="T55" fmla="*/ 1505 h 1510"/>
                  <a:gd name="T56" fmla="*/ 1557 w 1564"/>
                  <a:gd name="T57" fmla="*/ 1510 h 1510"/>
                  <a:gd name="T58" fmla="*/ 1261 w 1564"/>
                  <a:gd name="T59" fmla="*/ 971 h 1510"/>
                  <a:gd name="T60" fmla="*/ 1564 w 1564"/>
                  <a:gd name="T61" fmla="*/ 411 h 1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564" h="1510">
                    <a:moveTo>
                      <a:pt x="1564" y="411"/>
                    </a:moveTo>
                    <a:lnTo>
                      <a:pt x="1516" y="403"/>
                    </a:lnTo>
                    <a:lnTo>
                      <a:pt x="1422" y="379"/>
                    </a:lnTo>
                    <a:lnTo>
                      <a:pt x="1332" y="344"/>
                    </a:lnTo>
                    <a:lnTo>
                      <a:pt x="1248" y="298"/>
                    </a:lnTo>
                    <a:lnTo>
                      <a:pt x="1170" y="245"/>
                    </a:lnTo>
                    <a:lnTo>
                      <a:pt x="1099" y="184"/>
                    </a:lnTo>
                    <a:lnTo>
                      <a:pt x="1034" y="115"/>
                    </a:lnTo>
                    <a:lnTo>
                      <a:pt x="977" y="40"/>
                    </a:lnTo>
                    <a:lnTo>
                      <a:pt x="953" y="0"/>
                    </a:lnTo>
                    <a:lnTo>
                      <a:pt x="317" y="17"/>
                    </a:lnTo>
                    <a:lnTo>
                      <a:pt x="0" y="539"/>
                    </a:lnTo>
                    <a:lnTo>
                      <a:pt x="30" y="591"/>
                    </a:lnTo>
                    <a:lnTo>
                      <a:pt x="96" y="690"/>
                    </a:lnTo>
                    <a:lnTo>
                      <a:pt x="166" y="783"/>
                    </a:lnTo>
                    <a:lnTo>
                      <a:pt x="242" y="874"/>
                    </a:lnTo>
                    <a:lnTo>
                      <a:pt x="324" y="958"/>
                    </a:lnTo>
                    <a:lnTo>
                      <a:pt x="411" y="1038"/>
                    </a:lnTo>
                    <a:lnTo>
                      <a:pt x="501" y="1112"/>
                    </a:lnTo>
                    <a:lnTo>
                      <a:pt x="597" y="1181"/>
                    </a:lnTo>
                    <a:lnTo>
                      <a:pt x="697" y="1244"/>
                    </a:lnTo>
                    <a:lnTo>
                      <a:pt x="801" y="1301"/>
                    </a:lnTo>
                    <a:lnTo>
                      <a:pt x="908" y="1353"/>
                    </a:lnTo>
                    <a:lnTo>
                      <a:pt x="1020" y="1397"/>
                    </a:lnTo>
                    <a:lnTo>
                      <a:pt x="1134" y="1435"/>
                    </a:lnTo>
                    <a:lnTo>
                      <a:pt x="1252" y="1466"/>
                    </a:lnTo>
                    <a:lnTo>
                      <a:pt x="1371" y="1489"/>
                    </a:lnTo>
                    <a:lnTo>
                      <a:pt x="1494" y="1505"/>
                    </a:lnTo>
                    <a:lnTo>
                      <a:pt x="1557" y="1510"/>
                    </a:lnTo>
                    <a:lnTo>
                      <a:pt x="1261" y="971"/>
                    </a:lnTo>
                    <a:lnTo>
                      <a:pt x="1564" y="411"/>
                    </a:lnTo>
                    <a:close/>
                  </a:path>
                </a:pathLst>
              </a:custGeom>
              <a:solidFill>
                <a:srgbClr val="DCDEE3">
                  <a:alpha val="50196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1036" name="Freeform 1169">
                <a:extLst>
                  <a:ext uri="{FF2B5EF4-FFF2-40B4-BE49-F238E27FC236}">
                    <a16:creationId xmlns:a16="http://schemas.microsoft.com/office/drawing/2014/main" id="{15BB1F2B-08C4-157D-7FCE-BA07C7C4BF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4637" y="4273088"/>
                <a:ext cx="2365903" cy="1746145"/>
              </a:xfrm>
              <a:custGeom>
                <a:avLst/>
                <a:gdLst>
                  <a:gd name="T0" fmla="*/ 970 w 1922"/>
                  <a:gd name="T1" fmla="*/ 0 h 1419"/>
                  <a:gd name="T2" fmla="*/ 940 w 1922"/>
                  <a:gd name="T3" fmla="*/ 36 h 1419"/>
                  <a:gd name="T4" fmla="*/ 874 w 1922"/>
                  <a:gd name="T5" fmla="*/ 103 h 1419"/>
                  <a:gd name="T6" fmla="*/ 800 w 1922"/>
                  <a:gd name="T7" fmla="*/ 163 h 1419"/>
                  <a:gd name="T8" fmla="*/ 721 w 1922"/>
                  <a:gd name="T9" fmla="*/ 214 h 1419"/>
                  <a:gd name="T10" fmla="*/ 635 w 1922"/>
                  <a:gd name="T11" fmla="*/ 256 h 1419"/>
                  <a:gd name="T12" fmla="*/ 546 w 1922"/>
                  <a:gd name="T13" fmla="*/ 289 h 1419"/>
                  <a:gd name="T14" fmla="*/ 451 w 1922"/>
                  <a:gd name="T15" fmla="*/ 312 h 1419"/>
                  <a:gd name="T16" fmla="*/ 353 w 1922"/>
                  <a:gd name="T17" fmla="*/ 324 h 1419"/>
                  <a:gd name="T18" fmla="*/ 301 w 1922"/>
                  <a:gd name="T19" fmla="*/ 325 h 1419"/>
                  <a:gd name="T20" fmla="*/ 298 w 1922"/>
                  <a:gd name="T21" fmla="*/ 324 h 1419"/>
                  <a:gd name="T22" fmla="*/ 0 w 1922"/>
                  <a:gd name="T23" fmla="*/ 875 h 1419"/>
                  <a:gd name="T24" fmla="*/ 298 w 1922"/>
                  <a:gd name="T25" fmla="*/ 1419 h 1419"/>
                  <a:gd name="T26" fmla="*/ 301 w 1922"/>
                  <a:gd name="T27" fmla="*/ 1419 h 1419"/>
                  <a:gd name="T28" fmla="*/ 364 w 1922"/>
                  <a:gd name="T29" fmla="*/ 1418 h 1419"/>
                  <a:gd name="T30" fmla="*/ 490 w 1922"/>
                  <a:gd name="T31" fmla="*/ 1410 h 1419"/>
                  <a:gd name="T32" fmla="*/ 612 w 1922"/>
                  <a:gd name="T33" fmla="*/ 1394 h 1419"/>
                  <a:gd name="T34" fmla="*/ 732 w 1922"/>
                  <a:gd name="T35" fmla="*/ 1371 h 1419"/>
                  <a:gd name="T36" fmla="*/ 849 w 1922"/>
                  <a:gd name="T37" fmla="*/ 1341 h 1419"/>
                  <a:gd name="T38" fmla="*/ 964 w 1922"/>
                  <a:gd name="T39" fmla="*/ 1304 h 1419"/>
                  <a:gd name="T40" fmla="*/ 1075 w 1922"/>
                  <a:gd name="T41" fmla="*/ 1260 h 1419"/>
                  <a:gd name="T42" fmla="*/ 1182 w 1922"/>
                  <a:gd name="T43" fmla="*/ 1209 h 1419"/>
                  <a:gd name="T44" fmla="*/ 1287 w 1922"/>
                  <a:gd name="T45" fmla="*/ 1152 h 1419"/>
                  <a:gd name="T46" fmla="*/ 1387 w 1922"/>
                  <a:gd name="T47" fmla="*/ 1088 h 1419"/>
                  <a:gd name="T48" fmla="*/ 1482 w 1922"/>
                  <a:gd name="T49" fmla="*/ 1020 h 1419"/>
                  <a:gd name="T50" fmla="*/ 1574 w 1922"/>
                  <a:gd name="T51" fmla="*/ 946 h 1419"/>
                  <a:gd name="T52" fmla="*/ 1660 w 1922"/>
                  <a:gd name="T53" fmla="*/ 866 h 1419"/>
                  <a:gd name="T54" fmla="*/ 1742 w 1922"/>
                  <a:gd name="T55" fmla="*/ 781 h 1419"/>
                  <a:gd name="T56" fmla="*/ 1819 w 1922"/>
                  <a:gd name="T57" fmla="*/ 692 h 1419"/>
                  <a:gd name="T58" fmla="*/ 1889 w 1922"/>
                  <a:gd name="T59" fmla="*/ 597 h 1419"/>
                  <a:gd name="T60" fmla="*/ 1922 w 1922"/>
                  <a:gd name="T61" fmla="*/ 549 h 1419"/>
                  <a:gd name="T62" fmla="*/ 1298 w 1922"/>
                  <a:gd name="T63" fmla="*/ 535 h 1419"/>
                  <a:gd name="T64" fmla="*/ 970 w 1922"/>
                  <a:gd name="T65" fmla="*/ 0 h 1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922" h="1419">
                    <a:moveTo>
                      <a:pt x="970" y="0"/>
                    </a:moveTo>
                    <a:lnTo>
                      <a:pt x="940" y="36"/>
                    </a:lnTo>
                    <a:lnTo>
                      <a:pt x="874" y="103"/>
                    </a:lnTo>
                    <a:lnTo>
                      <a:pt x="800" y="163"/>
                    </a:lnTo>
                    <a:lnTo>
                      <a:pt x="721" y="214"/>
                    </a:lnTo>
                    <a:lnTo>
                      <a:pt x="635" y="256"/>
                    </a:lnTo>
                    <a:lnTo>
                      <a:pt x="546" y="289"/>
                    </a:lnTo>
                    <a:lnTo>
                      <a:pt x="451" y="312"/>
                    </a:lnTo>
                    <a:lnTo>
                      <a:pt x="353" y="324"/>
                    </a:lnTo>
                    <a:lnTo>
                      <a:pt x="301" y="325"/>
                    </a:lnTo>
                    <a:lnTo>
                      <a:pt x="298" y="324"/>
                    </a:lnTo>
                    <a:lnTo>
                      <a:pt x="0" y="875"/>
                    </a:lnTo>
                    <a:lnTo>
                      <a:pt x="298" y="1419"/>
                    </a:lnTo>
                    <a:lnTo>
                      <a:pt x="301" y="1419"/>
                    </a:lnTo>
                    <a:lnTo>
                      <a:pt x="364" y="1418"/>
                    </a:lnTo>
                    <a:lnTo>
                      <a:pt x="490" y="1410"/>
                    </a:lnTo>
                    <a:lnTo>
                      <a:pt x="612" y="1394"/>
                    </a:lnTo>
                    <a:lnTo>
                      <a:pt x="732" y="1371"/>
                    </a:lnTo>
                    <a:lnTo>
                      <a:pt x="849" y="1341"/>
                    </a:lnTo>
                    <a:lnTo>
                      <a:pt x="964" y="1304"/>
                    </a:lnTo>
                    <a:lnTo>
                      <a:pt x="1075" y="1260"/>
                    </a:lnTo>
                    <a:lnTo>
                      <a:pt x="1182" y="1209"/>
                    </a:lnTo>
                    <a:lnTo>
                      <a:pt x="1287" y="1152"/>
                    </a:lnTo>
                    <a:lnTo>
                      <a:pt x="1387" y="1088"/>
                    </a:lnTo>
                    <a:lnTo>
                      <a:pt x="1482" y="1020"/>
                    </a:lnTo>
                    <a:lnTo>
                      <a:pt x="1574" y="946"/>
                    </a:lnTo>
                    <a:lnTo>
                      <a:pt x="1660" y="866"/>
                    </a:lnTo>
                    <a:lnTo>
                      <a:pt x="1742" y="781"/>
                    </a:lnTo>
                    <a:lnTo>
                      <a:pt x="1819" y="692"/>
                    </a:lnTo>
                    <a:lnTo>
                      <a:pt x="1889" y="597"/>
                    </a:lnTo>
                    <a:lnTo>
                      <a:pt x="1922" y="549"/>
                    </a:lnTo>
                    <a:lnTo>
                      <a:pt x="1298" y="535"/>
                    </a:lnTo>
                    <a:lnTo>
                      <a:pt x="970" y="0"/>
                    </a:lnTo>
                    <a:close/>
                  </a:path>
                </a:pathLst>
              </a:custGeom>
              <a:solidFill>
                <a:srgbClr val="DCDEE3">
                  <a:alpha val="50196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45720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2400" b="1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1037" name="Picture 8" descr="BCG matrix Icon - Free PNG &amp; SVG 628628 - Noun Project">
              <a:extLst>
                <a:ext uri="{FF2B5EF4-FFF2-40B4-BE49-F238E27FC236}">
                  <a16:creationId xmlns:a16="http://schemas.microsoft.com/office/drawing/2014/main" id="{F0317AD5-6A25-4F61-5876-F0D1A6C8004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015" b="31025"/>
            <a:stretch/>
          </p:blipFill>
          <p:spPr bwMode="auto">
            <a:xfrm>
              <a:off x="6458350" y="1070999"/>
              <a:ext cx="670439" cy="5572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8" name="Picture 16" descr="Analysis - Free business and finance icons">
              <a:extLst>
                <a:ext uri="{FF2B5EF4-FFF2-40B4-BE49-F238E27FC236}">
                  <a16:creationId xmlns:a16="http://schemas.microsoft.com/office/drawing/2014/main" id="{BD09C65B-0853-9309-4FC0-F3DA0361BF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53779" y="2864180"/>
              <a:ext cx="495120" cy="4951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9" name="Picture 6" descr="Data collection Special Lineal icon">
              <a:extLst>
                <a:ext uri="{FF2B5EF4-FFF2-40B4-BE49-F238E27FC236}">
                  <a16:creationId xmlns:a16="http://schemas.microsoft.com/office/drawing/2014/main" id="{DB226B26-1A1D-99E6-0F0E-3E9AB1AB65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21490" y="4234832"/>
              <a:ext cx="495120" cy="4951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4" descr="Data Conversion Icons - Free SVG &amp; PNG Data Conversion Images - Noun Project">
              <a:extLst>
                <a:ext uri="{FF2B5EF4-FFF2-40B4-BE49-F238E27FC236}">
                  <a16:creationId xmlns:a16="http://schemas.microsoft.com/office/drawing/2014/main" id="{1969FD00-1E16-9553-5F8F-568B8B056A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68414" y="3870726"/>
              <a:ext cx="501645" cy="50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1" name="Picture 2" descr="Dashboard - Free seo and web icons">
              <a:extLst>
                <a:ext uri="{FF2B5EF4-FFF2-40B4-BE49-F238E27FC236}">
                  <a16:creationId xmlns:a16="http://schemas.microsoft.com/office/drawing/2014/main" id="{8774901C-36B6-731D-3B0E-E880B223E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83120" y="2279280"/>
              <a:ext cx="544632" cy="544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2" name="Picture 2" descr="Road map Icons &amp; Symbols">
              <a:extLst>
                <a:ext uri="{FF2B5EF4-FFF2-40B4-BE49-F238E27FC236}">
                  <a16:creationId xmlns:a16="http://schemas.microsoft.com/office/drawing/2014/main" id="{E971982B-AFA3-4CE1-54AE-4194E656DA2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alphaModFix/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9211" y="869727"/>
              <a:ext cx="522558" cy="5225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" name="Tekstvak 8">
            <a:extLst>
              <a:ext uri="{FF2B5EF4-FFF2-40B4-BE49-F238E27FC236}">
                <a16:creationId xmlns:a16="http://schemas.microsoft.com/office/drawing/2014/main" id="{1CAA38F2-C69A-32C1-0B9E-3B29648DBC9D}"/>
              </a:ext>
            </a:extLst>
          </p:cNvPr>
          <p:cNvSpPr txBox="1"/>
          <p:nvPr/>
        </p:nvSpPr>
        <p:spPr>
          <a:xfrm>
            <a:off x="7223341" y="1568583"/>
            <a:ext cx="240517" cy="3411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6</a:t>
            </a:r>
          </a:p>
        </p:txBody>
      </p:sp>
      <p:sp>
        <p:nvSpPr>
          <p:cNvPr id="8" name="TextBox 80">
            <a:extLst>
              <a:ext uri="{FF2B5EF4-FFF2-40B4-BE49-F238E27FC236}">
                <a16:creationId xmlns:a16="http://schemas.microsoft.com/office/drawing/2014/main" id="{E4B56F38-D319-1E33-83EB-0F04349BE264}"/>
              </a:ext>
            </a:extLst>
          </p:cNvPr>
          <p:cNvSpPr txBox="1"/>
          <p:nvPr/>
        </p:nvSpPr>
        <p:spPr>
          <a:xfrm>
            <a:off x="690188" y="1463109"/>
            <a:ext cx="4489159" cy="1200329"/>
          </a:xfrm>
          <a:prstGeom prst="rect">
            <a:avLst/>
          </a:prstGeom>
          <a:noFill/>
        </p:spPr>
        <p:txBody>
          <a:bodyPr wrap="square" lIns="0" rtlCol="0" anchor="t">
            <a:spAutoFit/>
          </a:bodyPr>
          <a:lstStyle/>
          <a:p>
            <a:pPr defTabSz="914343">
              <a:defRPr/>
            </a:pPr>
            <a:r>
              <a:rPr lang="en-US" sz="16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STAP 6:</a:t>
            </a:r>
            <a:br>
              <a:rPr lang="en-US" sz="1800" b="1" kern="0" noProof="1">
                <a:solidFill>
                  <a:srgbClr val="F3FBF7"/>
                </a:solidFill>
                <a:latin typeface="Montserrat" panose="00000500000000000000" pitchFamily="2" charset="0"/>
              </a:rPr>
            </a:br>
            <a:r>
              <a:rPr lang="nl-NL" sz="28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ESG actieplan &amp; </a:t>
            </a:r>
          </a:p>
          <a:p>
            <a:pPr defTabSz="914343">
              <a:defRPr/>
            </a:pPr>
            <a:r>
              <a:rPr lang="nl-NL" sz="28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continu verbeteren</a:t>
            </a:r>
          </a:p>
        </p:txBody>
      </p:sp>
      <p:grpSp>
        <p:nvGrpSpPr>
          <p:cNvPr id="1073" name="Groep 1072">
            <a:extLst>
              <a:ext uri="{FF2B5EF4-FFF2-40B4-BE49-F238E27FC236}">
                <a16:creationId xmlns:a16="http://schemas.microsoft.com/office/drawing/2014/main" id="{B281C506-54EE-5E11-8DE1-6DEA30C08AB9}"/>
              </a:ext>
            </a:extLst>
          </p:cNvPr>
          <p:cNvGrpSpPr/>
          <p:nvPr/>
        </p:nvGrpSpPr>
        <p:grpSpPr>
          <a:xfrm>
            <a:off x="6440526" y="1574143"/>
            <a:ext cx="2666761" cy="2666760"/>
            <a:chOff x="6351447" y="1206043"/>
            <a:chExt cx="3549513" cy="3549512"/>
          </a:xfrm>
          <a:effectLst/>
        </p:grpSpPr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8C55F1F5-84D7-76C2-C3B6-3DA674456AAC}"/>
                </a:ext>
              </a:extLst>
            </p:cNvPr>
            <p:cNvGrpSpPr/>
            <p:nvPr/>
          </p:nvGrpSpPr>
          <p:grpSpPr>
            <a:xfrm>
              <a:off x="6351447" y="1206043"/>
              <a:ext cx="3549513" cy="3549512"/>
              <a:chOff x="5766906" y="535922"/>
              <a:chExt cx="4724401" cy="472440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B1070139-89CF-D1B7-D43E-35A99844FDF4}"/>
                  </a:ext>
                </a:extLst>
              </p:cNvPr>
              <p:cNvSpPr/>
              <p:nvPr/>
            </p:nvSpPr>
            <p:spPr>
              <a:xfrm>
                <a:off x="6927251" y="1804196"/>
                <a:ext cx="2488595" cy="2181384"/>
              </a:xfrm>
              <a:prstGeom prst="rect">
                <a:avLst/>
              </a:prstGeom>
              <a:solidFill>
                <a:srgbClr val="00B050"/>
              </a:solidFill>
              <a:ln w="15875" cap="rnd">
                <a:noFill/>
                <a:round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35999" tIns="35999" rIns="35999" bIns="3599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63949">
                  <a:buClr>
                    <a:srgbClr val="4AC300"/>
                  </a:buClr>
                </a:pPr>
                <a:endParaRPr lang="en-GB" sz="900" err="1">
                  <a:solidFill>
                    <a:srgbClr val="555C6B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grpSp>
            <p:nvGrpSpPr>
              <p:cNvPr id="3" name="Group 3">
                <a:extLst>
                  <a:ext uri="{FF2B5EF4-FFF2-40B4-BE49-F238E27FC236}">
                    <a16:creationId xmlns:a16="http://schemas.microsoft.com/office/drawing/2014/main" id="{FCAA37B4-CAAE-8F4B-8232-EB779F5820A2}"/>
                  </a:ext>
                </a:extLst>
              </p:cNvPr>
              <p:cNvGrpSpPr/>
              <p:nvPr/>
            </p:nvGrpSpPr>
            <p:grpSpPr>
              <a:xfrm>
                <a:off x="5766906" y="535922"/>
                <a:ext cx="4724401" cy="4724400"/>
                <a:chOff x="3733800" y="1507328"/>
                <a:chExt cx="4724401" cy="4724400"/>
              </a:xfrm>
            </p:grpSpPr>
            <p:sp>
              <p:nvSpPr>
                <p:cNvPr id="4" name="Freeform: Shape 70">
                  <a:extLst>
                    <a:ext uri="{FF2B5EF4-FFF2-40B4-BE49-F238E27FC236}">
                      <a16:creationId xmlns:a16="http://schemas.microsoft.com/office/drawing/2014/main" id="{FFC7A2AF-7973-417C-2552-E66728779AD6}"/>
                    </a:ext>
                  </a:extLst>
                </p:cNvPr>
                <p:cNvSpPr/>
                <p:nvPr/>
              </p:nvSpPr>
              <p:spPr>
                <a:xfrm>
                  <a:off x="5448185" y="1507328"/>
                  <a:ext cx="866990" cy="1433630"/>
                </a:xfrm>
                <a:custGeom>
                  <a:avLst/>
                  <a:gdLst>
                    <a:gd name="connsiteX0" fmla="*/ 647815 w 866990"/>
                    <a:gd name="connsiteY0" fmla="*/ 0 h 1433630"/>
                    <a:gd name="connsiteX1" fmla="*/ 866990 w 866990"/>
                    <a:gd name="connsiteY1" fmla="*/ 11068 h 1433630"/>
                    <a:gd name="connsiteX2" fmla="*/ 652578 w 866990"/>
                    <a:gd name="connsiteY2" fmla="*/ 241 h 1433630"/>
                    <a:gd name="connsiteX3" fmla="*/ 652578 w 866990"/>
                    <a:gd name="connsiteY3" fmla="*/ 6061 h 1433630"/>
                    <a:gd name="connsiteX4" fmla="*/ 654508 w 866990"/>
                    <a:gd name="connsiteY4" fmla="*/ 1018 h 1433630"/>
                    <a:gd name="connsiteX5" fmla="*/ 725788 w 866990"/>
                    <a:gd name="connsiteY5" fmla="*/ 184595 h 1433630"/>
                    <a:gd name="connsiteX6" fmla="*/ 800593 w 866990"/>
                    <a:gd name="connsiteY6" fmla="*/ 697472 h 1433630"/>
                    <a:gd name="connsiteX7" fmla="*/ 728260 w 866990"/>
                    <a:gd name="connsiteY7" fmla="*/ 1210704 h 1433630"/>
                    <a:gd name="connsiteX8" fmla="*/ 659441 w 866990"/>
                    <a:gd name="connsiteY8" fmla="*/ 1390505 h 1433630"/>
                    <a:gd name="connsiteX9" fmla="*/ 656202 w 866990"/>
                    <a:gd name="connsiteY9" fmla="*/ 1390342 h 1433630"/>
                    <a:gd name="connsiteX10" fmla="*/ 652578 w 866990"/>
                    <a:gd name="connsiteY10" fmla="*/ 1381008 h 1433630"/>
                    <a:gd name="connsiteX11" fmla="*/ 652578 w 866990"/>
                    <a:gd name="connsiteY11" fmla="*/ 1390159 h 1433630"/>
                    <a:gd name="connsiteX12" fmla="*/ 647815 w 866990"/>
                    <a:gd name="connsiteY12" fmla="*/ 1389918 h 1433630"/>
                    <a:gd name="connsiteX13" fmla="*/ 358688 w 866990"/>
                    <a:gd name="connsiteY13" fmla="*/ 1433630 h 1433630"/>
                    <a:gd name="connsiteX14" fmla="*/ 389854 w 866990"/>
                    <a:gd name="connsiteY14" fmla="*/ 1425616 h 1433630"/>
                    <a:gd name="connsiteX15" fmla="*/ 385289 w 866990"/>
                    <a:gd name="connsiteY15" fmla="*/ 1409258 h 1433630"/>
                    <a:gd name="connsiteX16" fmla="*/ 278516 w 866990"/>
                    <a:gd name="connsiteY16" fmla="*/ 1266622 h 1433630"/>
                    <a:gd name="connsiteX17" fmla="*/ 68568 w 866990"/>
                    <a:gd name="connsiteY17" fmla="*/ 792744 h 1433630"/>
                    <a:gd name="connsiteX18" fmla="*/ 244 w 866990"/>
                    <a:gd name="connsiteY18" fmla="*/ 278963 h 1433630"/>
                    <a:gd name="connsiteX19" fmla="*/ 17719 w 866990"/>
                    <a:gd name="connsiteY19" fmla="*/ 92248 h 1433630"/>
                    <a:gd name="connsiteX20" fmla="*/ 16508 w 866990"/>
                    <a:gd name="connsiteY20" fmla="*/ 87908 h 1433630"/>
                    <a:gd name="connsiteX21" fmla="*/ 171749 w 866990"/>
                    <a:gd name="connsiteY21" fmla="*/ 47992 h 1433630"/>
                    <a:gd name="connsiteX22" fmla="*/ 647815 w 866990"/>
                    <a:gd name="connsiteY22" fmla="*/ 0 h 14336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866990" h="1433630">
                      <a:moveTo>
                        <a:pt x="647815" y="0"/>
                      </a:moveTo>
                      <a:lnTo>
                        <a:pt x="866990" y="11068"/>
                      </a:lnTo>
                      <a:lnTo>
                        <a:pt x="652578" y="241"/>
                      </a:lnTo>
                      <a:lnTo>
                        <a:pt x="652578" y="6061"/>
                      </a:lnTo>
                      <a:lnTo>
                        <a:pt x="654508" y="1018"/>
                      </a:lnTo>
                      <a:lnTo>
                        <a:pt x="725788" y="184595"/>
                      </a:lnTo>
                      <a:cubicBezTo>
                        <a:pt x="773541" y="342173"/>
                        <a:pt x="800155" y="515484"/>
                        <a:pt x="800593" y="697472"/>
                      </a:cubicBezTo>
                      <a:cubicBezTo>
                        <a:pt x="801031" y="879461"/>
                        <a:pt x="775253" y="1052897"/>
                        <a:pt x="728260" y="1210704"/>
                      </a:cubicBezTo>
                      <a:lnTo>
                        <a:pt x="659441" y="1390505"/>
                      </a:lnTo>
                      <a:lnTo>
                        <a:pt x="656202" y="1390342"/>
                      </a:lnTo>
                      <a:lnTo>
                        <a:pt x="652578" y="1381008"/>
                      </a:lnTo>
                      <a:lnTo>
                        <a:pt x="652578" y="1390159"/>
                      </a:lnTo>
                      <a:lnTo>
                        <a:pt x="647815" y="1389918"/>
                      </a:lnTo>
                      <a:cubicBezTo>
                        <a:pt x="547132" y="1389918"/>
                        <a:pt x="450023" y="1405222"/>
                        <a:pt x="358688" y="1433630"/>
                      </a:cubicBezTo>
                      <a:lnTo>
                        <a:pt x="389854" y="1425616"/>
                      </a:lnTo>
                      <a:lnTo>
                        <a:pt x="385289" y="1409258"/>
                      </a:lnTo>
                      <a:lnTo>
                        <a:pt x="278516" y="1266622"/>
                      </a:lnTo>
                      <a:cubicBezTo>
                        <a:pt x="190153" y="1127686"/>
                        <a:pt x="117922" y="967913"/>
                        <a:pt x="68568" y="792744"/>
                      </a:cubicBezTo>
                      <a:cubicBezTo>
                        <a:pt x="19214" y="617575"/>
                        <a:pt x="-2589" y="443594"/>
                        <a:pt x="244" y="278963"/>
                      </a:cubicBezTo>
                      <a:lnTo>
                        <a:pt x="17719" y="92248"/>
                      </a:lnTo>
                      <a:lnTo>
                        <a:pt x="16508" y="87908"/>
                      </a:lnTo>
                      <a:lnTo>
                        <a:pt x="171749" y="47992"/>
                      </a:lnTo>
                      <a:cubicBezTo>
                        <a:pt x="325523" y="16525"/>
                        <a:pt x="484739" y="0"/>
                        <a:pt x="647815" y="0"/>
                      </a:cubicBezTo>
                      <a:close/>
                    </a:path>
                  </a:pathLst>
                </a:custGeom>
                <a:solidFill>
                  <a:srgbClr val="D6F2E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863949"/>
                  <a:endParaRPr lang="en-US">
                    <a:solidFill>
                      <a:srgbClr val="555C6B"/>
                    </a:solidFill>
                    <a:latin typeface="Calibri"/>
                  </a:endParaRPr>
                </a:p>
              </p:txBody>
            </p:sp>
            <p:sp>
              <p:nvSpPr>
                <p:cNvPr id="5" name="Freeform: Shape 71">
                  <a:extLst>
                    <a:ext uri="{FF2B5EF4-FFF2-40B4-BE49-F238E27FC236}">
                      <a16:creationId xmlns:a16="http://schemas.microsoft.com/office/drawing/2014/main" id="{01E580DA-66F0-7E9C-C917-15C2EB69722B}"/>
                    </a:ext>
                  </a:extLst>
                </p:cNvPr>
                <p:cNvSpPr/>
                <p:nvPr/>
              </p:nvSpPr>
              <p:spPr>
                <a:xfrm>
                  <a:off x="6663784" y="2046740"/>
                  <a:ext cx="1479529" cy="1346746"/>
                </a:xfrm>
                <a:custGeom>
                  <a:avLst/>
                  <a:gdLst>
                    <a:gd name="connsiteX0" fmla="*/ 934796 w 1479529"/>
                    <a:gd name="connsiteY0" fmla="*/ 0 h 1346746"/>
                    <a:gd name="connsiteX1" fmla="*/ 1390990 w 1479529"/>
                    <a:gd name="connsiteY1" fmla="*/ 502060 h 1346746"/>
                    <a:gd name="connsiteX2" fmla="*/ 1478476 w 1479529"/>
                    <a:gd name="connsiteY2" fmla="*/ 646066 h 1346746"/>
                    <a:gd name="connsiteX3" fmla="*/ 1473789 w 1479529"/>
                    <a:gd name="connsiteY3" fmla="*/ 648779 h 1346746"/>
                    <a:gd name="connsiteX4" fmla="*/ 1479529 w 1479529"/>
                    <a:gd name="connsiteY4" fmla="*/ 647864 h 1346746"/>
                    <a:gd name="connsiteX5" fmla="*/ 1356187 w 1479529"/>
                    <a:gd name="connsiteY5" fmla="*/ 801383 h 1346746"/>
                    <a:gd name="connsiteX6" fmla="*/ 949425 w 1479529"/>
                    <a:gd name="connsiteY6" fmla="*/ 1122605 h 1346746"/>
                    <a:gd name="connsiteX7" fmla="*/ 468786 w 1479529"/>
                    <a:gd name="connsiteY7" fmla="*/ 1316578 h 1346746"/>
                    <a:gd name="connsiteX8" fmla="*/ 279499 w 1479529"/>
                    <a:gd name="connsiteY8" fmla="*/ 1346746 h 1346746"/>
                    <a:gd name="connsiteX9" fmla="*/ 277551 w 1479529"/>
                    <a:gd name="connsiteY9" fmla="*/ 1343540 h 1346746"/>
                    <a:gd name="connsiteX10" fmla="*/ 281237 w 1479529"/>
                    <a:gd name="connsiteY10" fmla="*/ 1338952 h 1346746"/>
                    <a:gd name="connsiteX11" fmla="*/ 276448 w 1479529"/>
                    <a:gd name="connsiteY11" fmla="*/ 1341724 h 1346746"/>
                    <a:gd name="connsiteX12" fmla="*/ 238449 w 1479529"/>
                    <a:gd name="connsiteY12" fmla="*/ 1279176 h 1346746"/>
                    <a:gd name="connsiteX13" fmla="*/ 119724 w 1479529"/>
                    <a:gd name="connsiteY13" fmla="*/ 1135281 h 1346746"/>
                    <a:gd name="connsiteX14" fmla="*/ 0 w 1479529"/>
                    <a:gd name="connsiteY14" fmla="*/ 1036499 h 1346746"/>
                    <a:gd name="connsiteX15" fmla="*/ 116209 w 1479529"/>
                    <a:gd name="connsiteY15" fmla="*/ 1132380 h 1346746"/>
                    <a:gd name="connsiteX16" fmla="*/ 122152 w 1479529"/>
                    <a:gd name="connsiteY16" fmla="*/ 1126298 h 1346746"/>
                    <a:gd name="connsiteX17" fmla="*/ 195489 w 1479529"/>
                    <a:gd name="connsiteY17" fmla="*/ 955047 h 1346746"/>
                    <a:gd name="connsiteX18" fmla="*/ 500905 w 1479529"/>
                    <a:gd name="connsiteY18" fmla="*/ 536288 h 1346746"/>
                    <a:gd name="connsiteX19" fmla="*/ 911690 w 1479529"/>
                    <a:gd name="connsiteY19" fmla="*/ 220227 h 1346746"/>
                    <a:gd name="connsiteX20" fmla="*/ 1085292 w 1479529"/>
                    <a:gd name="connsiteY20" fmla="*/ 140552 h 1346746"/>
                    <a:gd name="connsiteX21" fmla="*/ 1087244 w 1479529"/>
                    <a:gd name="connsiteY21" fmla="*/ 138554 h 1346746"/>
                    <a:gd name="connsiteX22" fmla="*/ 934796 w 1479529"/>
                    <a:gd name="connsiteY22" fmla="*/ 0 h 1346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479529" h="1346746">
                      <a:moveTo>
                        <a:pt x="934796" y="0"/>
                      </a:moveTo>
                      <a:cubicBezTo>
                        <a:pt x="1109793" y="144420"/>
                        <a:pt x="1263639" y="313555"/>
                        <a:pt x="1390990" y="502060"/>
                      </a:cubicBezTo>
                      <a:lnTo>
                        <a:pt x="1478476" y="646066"/>
                      </a:lnTo>
                      <a:lnTo>
                        <a:pt x="1473789" y="648779"/>
                      </a:lnTo>
                      <a:lnTo>
                        <a:pt x="1479529" y="647864"/>
                      </a:lnTo>
                      <a:lnTo>
                        <a:pt x="1356187" y="801383"/>
                      </a:lnTo>
                      <a:cubicBezTo>
                        <a:pt x="1243597" y="921528"/>
                        <a:pt x="1106812" y="1031231"/>
                        <a:pt x="949425" y="1122605"/>
                      </a:cubicBezTo>
                      <a:cubicBezTo>
                        <a:pt x="792037" y="1213978"/>
                        <a:pt x="628948" y="1278372"/>
                        <a:pt x="468786" y="1316578"/>
                      </a:cubicBezTo>
                      <a:lnTo>
                        <a:pt x="279499" y="1346746"/>
                      </a:lnTo>
                      <a:lnTo>
                        <a:pt x="277551" y="1343540"/>
                      </a:lnTo>
                      <a:lnTo>
                        <a:pt x="281237" y="1338952"/>
                      </a:lnTo>
                      <a:lnTo>
                        <a:pt x="276448" y="1341724"/>
                      </a:lnTo>
                      <a:lnTo>
                        <a:pt x="238449" y="1279176"/>
                      </a:lnTo>
                      <a:cubicBezTo>
                        <a:pt x="203504" y="1227450"/>
                        <a:pt x="163712" y="1179268"/>
                        <a:pt x="119724" y="1135281"/>
                      </a:cubicBezTo>
                      <a:lnTo>
                        <a:pt x="0" y="1036499"/>
                      </a:lnTo>
                      <a:lnTo>
                        <a:pt x="116209" y="1132380"/>
                      </a:lnTo>
                      <a:lnTo>
                        <a:pt x="122152" y="1126298"/>
                      </a:lnTo>
                      <a:lnTo>
                        <a:pt x="195489" y="955047"/>
                      </a:lnTo>
                      <a:cubicBezTo>
                        <a:pt x="271630" y="809055"/>
                        <a:pt x="373881" y="666614"/>
                        <a:pt x="500905" y="536288"/>
                      </a:cubicBezTo>
                      <a:cubicBezTo>
                        <a:pt x="627929" y="405962"/>
                        <a:pt x="767699" y="300089"/>
                        <a:pt x="911690" y="220227"/>
                      </a:cubicBezTo>
                      <a:lnTo>
                        <a:pt x="1085292" y="140552"/>
                      </a:lnTo>
                      <a:lnTo>
                        <a:pt x="1087244" y="138554"/>
                      </a:lnTo>
                      <a:lnTo>
                        <a:pt x="934796" y="0"/>
                      </a:lnTo>
                      <a:close/>
                    </a:path>
                  </a:pathLst>
                </a:custGeom>
                <a:solidFill>
                  <a:srgbClr val="D6F2E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863949"/>
                  <a:endParaRPr lang="en-US">
                    <a:solidFill>
                      <a:srgbClr val="555C6B"/>
                    </a:solidFill>
                    <a:latin typeface="Calibri"/>
                  </a:endParaRPr>
                </a:p>
              </p:txBody>
            </p:sp>
            <p:sp>
              <p:nvSpPr>
                <p:cNvPr id="11" name="Freeform: Shape 72">
                  <a:extLst>
                    <a:ext uri="{FF2B5EF4-FFF2-40B4-BE49-F238E27FC236}">
                      <a16:creationId xmlns:a16="http://schemas.microsoft.com/office/drawing/2014/main" id="{6F0BA40A-0F2D-EA63-AF37-CC8748486300}"/>
                    </a:ext>
                  </a:extLst>
                </p:cNvPr>
                <p:cNvSpPr/>
                <p:nvPr/>
              </p:nvSpPr>
              <p:spPr>
                <a:xfrm>
                  <a:off x="3733800" y="2548801"/>
                  <a:ext cx="1521882" cy="1320729"/>
                </a:xfrm>
                <a:custGeom>
                  <a:avLst/>
                  <a:gdLst>
                    <a:gd name="connsiteX0" fmla="*/ 403427 w 1521882"/>
                    <a:gd name="connsiteY0" fmla="*/ 0 h 1320729"/>
                    <a:gd name="connsiteX1" fmla="*/ 316587 w 1521882"/>
                    <a:gd name="connsiteY1" fmla="*/ 142943 h 1320729"/>
                    <a:gd name="connsiteX2" fmla="*/ 321461 w 1521882"/>
                    <a:gd name="connsiteY2" fmla="*/ 145754 h 1320729"/>
                    <a:gd name="connsiteX3" fmla="*/ 512723 w 1521882"/>
                    <a:gd name="connsiteY3" fmla="*/ 175293 h 1320729"/>
                    <a:gd name="connsiteX4" fmla="*/ 994290 w 1521882"/>
                    <a:gd name="connsiteY4" fmla="*/ 366949 h 1320729"/>
                    <a:gd name="connsiteX5" fmla="*/ 1402595 w 1521882"/>
                    <a:gd name="connsiteY5" fmla="*/ 686207 h 1320729"/>
                    <a:gd name="connsiteX6" fmla="*/ 1521882 w 1521882"/>
                    <a:gd name="connsiteY6" fmla="*/ 833223 h 1320729"/>
                    <a:gd name="connsiteX7" fmla="*/ 1507267 w 1521882"/>
                    <a:gd name="connsiteY7" fmla="*/ 857280 h 1320729"/>
                    <a:gd name="connsiteX8" fmla="*/ 1433630 w 1521882"/>
                    <a:gd name="connsiteY8" fmla="*/ 1031601 h 1320729"/>
                    <a:gd name="connsiteX9" fmla="*/ 1420877 w 1521882"/>
                    <a:gd name="connsiteY9" fmla="*/ 1081200 h 1320729"/>
                    <a:gd name="connsiteX10" fmla="*/ 1418693 w 1521882"/>
                    <a:gd name="connsiteY10" fmla="*/ 1080636 h 1320729"/>
                    <a:gd name="connsiteX11" fmla="*/ 1226149 w 1521882"/>
                    <a:gd name="connsiteY11" fmla="*/ 1103655 h 1320729"/>
                    <a:gd name="connsiteX12" fmla="*/ 710784 w 1521882"/>
                    <a:gd name="connsiteY12" fmla="*/ 1048536 h 1320729"/>
                    <a:gd name="connsiteX13" fmla="*/ 231675 w 1521882"/>
                    <a:gd name="connsiteY13" fmla="*/ 850816 h 1320729"/>
                    <a:gd name="connsiteX14" fmla="*/ 74986 w 1521882"/>
                    <a:gd name="connsiteY14" fmla="*/ 739680 h 1320729"/>
                    <a:gd name="connsiteX15" fmla="*/ 47992 w 1521882"/>
                    <a:gd name="connsiteY15" fmla="*/ 844663 h 1320729"/>
                    <a:gd name="connsiteX16" fmla="*/ 12196 w 1521882"/>
                    <a:gd name="connsiteY16" fmla="*/ 1079208 h 1320729"/>
                    <a:gd name="connsiteX17" fmla="*/ 0 w 1521882"/>
                    <a:gd name="connsiteY17" fmla="*/ 1320729 h 1320729"/>
                    <a:gd name="connsiteX18" fmla="*/ 0 w 1521882"/>
                    <a:gd name="connsiteY18" fmla="*/ 1320728 h 1320729"/>
                    <a:gd name="connsiteX19" fmla="*/ 403427 w 1521882"/>
                    <a:gd name="connsiteY19" fmla="*/ 0 h 1320729"/>
                    <a:gd name="connsiteX20" fmla="*/ 76434 w 1521882"/>
                    <a:gd name="connsiteY20" fmla="*/ 734047 h 1320729"/>
                    <a:gd name="connsiteX21" fmla="*/ 75852 w 1521882"/>
                    <a:gd name="connsiteY21" fmla="*/ 736312 h 1320729"/>
                    <a:gd name="connsiteX22" fmla="*/ 82247 w 1521882"/>
                    <a:gd name="connsiteY22" fmla="*/ 735548 h 1320729"/>
                    <a:gd name="connsiteX23" fmla="*/ 76434 w 1521882"/>
                    <a:gd name="connsiteY23" fmla="*/ 734047 h 13207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521882" h="1320729">
                      <a:moveTo>
                        <a:pt x="403427" y="0"/>
                      </a:moveTo>
                      <a:lnTo>
                        <a:pt x="316587" y="142943"/>
                      </a:lnTo>
                      <a:lnTo>
                        <a:pt x="321461" y="145754"/>
                      </a:lnTo>
                      <a:lnTo>
                        <a:pt x="512723" y="175293"/>
                      </a:lnTo>
                      <a:cubicBezTo>
                        <a:pt x="673066" y="212727"/>
                        <a:pt x="836464" y="276334"/>
                        <a:pt x="994290" y="366949"/>
                      </a:cubicBezTo>
                      <a:cubicBezTo>
                        <a:pt x="1152115" y="457564"/>
                        <a:pt x="1289427" y="566607"/>
                        <a:pt x="1402595" y="686207"/>
                      </a:cubicBezTo>
                      <a:lnTo>
                        <a:pt x="1521882" y="833223"/>
                      </a:lnTo>
                      <a:lnTo>
                        <a:pt x="1507267" y="857280"/>
                      </a:lnTo>
                      <a:cubicBezTo>
                        <a:pt x="1477332" y="912387"/>
                        <a:pt x="1452569" y="970711"/>
                        <a:pt x="1433630" y="1031601"/>
                      </a:cubicBezTo>
                      <a:lnTo>
                        <a:pt x="1420877" y="1081200"/>
                      </a:lnTo>
                      <a:lnTo>
                        <a:pt x="1418693" y="1080636"/>
                      </a:lnTo>
                      <a:lnTo>
                        <a:pt x="1226149" y="1103655"/>
                      </a:lnTo>
                      <a:cubicBezTo>
                        <a:pt x="1061645" y="1110711"/>
                        <a:pt x="887162" y="1093379"/>
                        <a:pt x="710784" y="1048536"/>
                      </a:cubicBezTo>
                      <a:cubicBezTo>
                        <a:pt x="534407" y="1003693"/>
                        <a:pt x="372833" y="935585"/>
                        <a:pt x="231675" y="850816"/>
                      </a:cubicBezTo>
                      <a:lnTo>
                        <a:pt x="74986" y="739680"/>
                      </a:lnTo>
                      <a:lnTo>
                        <a:pt x="47992" y="844663"/>
                      </a:lnTo>
                      <a:cubicBezTo>
                        <a:pt x="32259" y="921550"/>
                        <a:pt x="20261" y="999798"/>
                        <a:pt x="12196" y="1079208"/>
                      </a:cubicBezTo>
                      <a:lnTo>
                        <a:pt x="0" y="1320729"/>
                      </a:lnTo>
                      <a:lnTo>
                        <a:pt x="0" y="1320728"/>
                      </a:lnTo>
                      <a:cubicBezTo>
                        <a:pt x="0" y="831501"/>
                        <a:pt x="148724" y="377009"/>
                        <a:pt x="403427" y="0"/>
                      </a:cubicBezTo>
                      <a:close/>
                      <a:moveTo>
                        <a:pt x="76434" y="734047"/>
                      </a:moveTo>
                      <a:lnTo>
                        <a:pt x="75852" y="736312"/>
                      </a:lnTo>
                      <a:lnTo>
                        <a:pt x="82247" y="735548"/>
                      </a:lnTo>
                      <a:lnTo>
                        <a:pt x="76434" y="734047"/>
                      </a:lnTo>
                      <a:close/>
                    </a:path>
                  </a:pathLst>
                </a:custGeom>
                <a:solidFill>
                  <a:srgbClr val="D6F2E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863949"/>
                  <a:endParaRPr lang="en-US">
                    <a:solidFill>
                      <a:srgbClr val="555C6B"/>
                    </a:solidFill>
                    <a:latin typeface="Calibri"/>
                  </a:endParaRPr>
                </a:p>
              </p:txBody>
            </p:sp>
            <p:sp>
              <p:nvSpPr>
                <p:cNvPr id="12" name="Freeform: Shape 73">
                  <a:extLst>
                    <a:ext uri="{FF2B5EF4-FFF2-40B4-BE49-F238E27FC236}">
                      <a16:creationId xmlns:a16="http://schemas.microsoft.com/office/drawing/2014/main" id="{7EE536A3-4F33-92AB-7B2B-24A72EB674C7}"/>
                    </a:ext>
                  </a:extLst>
                </p:cNvPr>
                <p:cNvSpPr/>
                <p:nvPr/>
              </p:nvSpPr>
              <p:spPr>
                <a:xfrm>
                  <a:off x="6934718" y="3491065"/>
                  <a:ext cx="1447922" cy="1557030"/>
                </a:xfrm>
                <a:custGeom>
                  <a:avLst/>
                  <a:gdLst>
                    <a:gd name="connsiteX0" fmla="*/ 57153 w 1447922"/>
                    <a:gd name="connsiteY0" fmla="*/ 0 h 1557030"/>
                    <a:gd name="connsiteX1" fmla="*/ 57158 w 1447922"/>
                    <a:gd name="connsiteY1" fmla="*/ 8 h 1557030"/>
                    <a:gd name="connsiteX2" fmla="*/ 133565 w 1447922"/>
                    <a:gd name="connsiteY2" fmla="*/ 378464 h 1557030"/>
                    <a:gd name="connsiteX3" fmla="*/ 113812 w 1447922"/>
                    <a:gd name="connsiteY3" fmla="*/ 574413 h 1557030"/>
                    <a:gd name="connsiteX4" fmla="*/ 102511 w 1447922"/>
                    <a:gd name="connsiteY4" fmla="*/ 618362 h 1557030"/>
                    <a:gd name="connsiteX5" fmla="*/ 293583 w 1447922"/>
                    <a:gd name="connsiteY5" fmla="*/ 595519 h 1557030"/>
                    <a:gd name="connsiteX6" fmla="*/ 808948 w 1447922"/>
                    <a:gd name="connsiteY6" fmla="*/ 650638 h 1557030"/>
                    <a:gd name="connsiteX7" fmla="*/ 1288057 w 1447922"/>
                    <a:gd name="connsiteY7" fmla="*/ 848358 h 1557030"/>
                    <a:gd name="connsiteX8" fmla="*/ 1447922 w 1447922"/>
                    <a:gd name="connsiteY8" fmla="*/ 961746 h 1557030"/>
                    <a:gd name="connsiteX9" fmla="*/ 1447754 w 1447922"/>
                    <a:gd name="connsiteY9" fmla="*/ 962399 h 1557030"/>
                    <a:gd name="connsiteX10" fmla="*/ 1435058 w 1447922"/>
                    <a:gd name="connsiteY10" fmla="*/ 963917 h 1557030"/>
                    <a:gd name="connsiteX11" fmla="*/ 1446604 w 1447922"/>
                    <a:gd name="connsiteY11" fmla="*/ 966872 h 1557030"/>
                    <a:gd name="connsiteX12" fmla="*/ 1417282 w 1447922"/>
                    <a:gd name="connsiteY12" fmla="*/ 1080909 h 1557030"/>
                    <a:gd name="connsiteX13" fmla="*/ 1238377 w 1447922"/>
                    <a:gd name="connsiteY13" fmla="*/ 1504428 h 1557030"/>
                    <a:gd name="connsiteX14" fmla="*/ 1206421 w 1447922"/>
                    <a:gd name="connsiteY14" fmla="*/ 1557030 h 1557030"/>
                    <a:gd name="connsiteX15" fmla="*/ 1200835 w 1447922"/>
                    <a:gd name="connsiteY15" fmla="*/ 1553817 h 1557030"/>
                    <a:gd name="connsiteX16" fmla="*/ 1007010 w 1447922"/>
                    <a:gd name="connsiteY16" fmla="*/ 1523882 h 1557030"/>
                    <a:gd name="connsiteX17" fmla="*/ 525443 w 1447922"/>
                    <a:gd name="connsiteY17" fmla="*/ 1332225 h 1557030"/>
                    <a:gd name="connsiteX18" fmla="*/ 117138 w 1447922"/>
                    <a:gd name="connsiteY18" fmla="*/ 1012967 h 1557030"/>
                    <a:gd name="connsiteX19" fmla="*/ 0 w 1447922"/>
                    <a:gd name="connsiteY19" fmla="*/ 868601 h 1557030"/>
                    <a:gd name="connsiteX20" fmla="*/ 16215 w 1447922"/>
                    <a:gd name="connsiteY20" fmla="*/ 841911 h 1557030"/>
                    <a:gd name="connsiteX21" fmla="*/ 133564 w 1447922"/>
                    <a:gd name="connsiteY21" fmla="*/ 378463 h 1557030"/>
                    <a:gd name="connsiteX22" fmla="*/ 57157 w 1447922"/>
                    <a:gd name="connsiteY22" fmla="*/ 7 h 1557030"/>
                    <a:gd name="connsiteX23" fmla="*/ 57153 w 1447922"/>
                    <a:gd name="connsiteY23" fmla="*/ 0 h 1557030"/>
                    <a:gd name="connsiteX24" fmla="*/ 101706 w 1447922"/>
                    <a:gd name="connsiteY24" fmla="*/ 621492 h 1557030"/>
                    <a:gd name="connsiteX25" fmla="*/ 101419 w 1447922"/>
                    <a:gd name="connsiteY25" fmla="*/ 622610 h 1557030"/>
                    <a:gd name="connsiteX26" fmla="*/ 104335 w 1447922"/>
                    <a:gd name="connsiteY26" fmla="*/ 623356 h 1557030"/>
                    <a:gd name="connsiteX27" fmla="*/ 101706 w 1447922"/>
                    <a:gd name="connsiteY27" fmla="*/ 621492 h 15570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447922" h="1557030">
                      <a:moveTo>
                        <a:pt x="57153" y="0"/>
                      </a:moveTo>
                      <a:lnTo>
                        <a:pt x="57158" y="8"/>
                      </a:lnTo>
                      <a:cubicBezTo>
                        <a:pt x="106358" y="116330"/>
                        <a:pt x="133565" y="244220"/>
                        <a:pt x="133565" y="378464"/>
                      </a:cubicBezTo>
                      <a:cubicBezTo>
                        <a:pt x="133565" y="445586"/>
                        <a:pt x="126763" y="511120"/>
                        <a:pt x="113812" y="574413"/>
                      </a:cubicBezTo>
                      <a:lnTo>
                        <a:pt x="102511" y="618362"/>
                      </a:lnTo>
                      <a:lnTo>
                        <a:pt x="293583" y="595519"/>
                      </a:lnTo>
                      <a:cubicBezTo>
                        <a:pt x="458087" y="588463"/>
                        <a:pt x="632570" y="605795"/>
                        <a:pt x="808948" y="650638"/>
                      </a:cubicBezTo>
                      <a:cubicBezTo>
                        <a:pt x="985326" y="695481"/>
                        <a:pt x="1146899" y="763590"/>
                        <a:pt x="1288057" y="848358"/>
                      </a:cubicBezTo>
                      <a:lnTo>
                        <a:pt x="1447922" y="961746"/>
                      </a:lnTo>
                      <a:lnTo>
                        <a:pt x="1447754" y="962399"/>
                      </a:lnTo>
                      <a:lnTo>
                        <a:pt x="1435058" y="963917"/>
                      </a:lnTo>
                      <a:lnTo>
                        <a:pt x="1446604" y="966872"/>
                      </a:lnTo>
                      <a:lnTo>
                        <a:pt x="1417282" y="1080909"/>
                      </a:lnTo>
                      <a:cubicBezTo>
                        <a:pt x="1371270" y="1228844"/>
                        <a:pt x="1311107" y="1370545"/>
                        <a:pt x="1238377" y="1504428"/>
                      </a:cubicBezTo>
                      <a:lnTo>
                        <a:pt x="1206421" y="1557030"/>
                      </a:lnTo>
                      <a:lnTo>
                        <a:pt x="1200835" y="1553817"/>
                      </a:lnTo>
                      <a:lnTo>
                        <a:pt x="1007010" y="1523882"/>
                      </a:lnTo>
                      <a:cubicBezTo>
                        <a:pt x="846666" y="1486447"/>
                        <a:pt x="683268" y="1422840"/>
                        <a:pt x="525443" y="1332225"/>
                      </a:cubicBezTo>
                      <a:cubicBezTo>
                        <a:pt x="367617" y="1241611"/>
                        <a:pt x="230306" y="1132568"/>
                        <a:pt x="117138" y="1012967"/>
                      </a:cubicBezTo>
                      <a:lnTo>
                        <a:pt x="0" y="868601"/>
                      </a:lnTo>
                      <a:lnTo>
                        <a:pt x="16215" y="841911"/>
                      </a:lnTo>
                      <a:cubicBezTo>
                        <a:pt x="91054" y="704145"/>
                        <a:pt x="133564" y="546268"/>
                        <a:pt x="133564" y="378463"/>
                      </a:cubicBezTo>
                      <a:cubicBezTo>
                        <a:pt x="133564" y="244219"/>
                        <a:pt x="106357" y="116329"/>
                        <a:pt x="57157" y="7"/>
                      </a:cubicBezTo>
                      <a:lnTo>
                        <a:pt x="57153" y="0"/>
                      </a:lnTo>
                      <a:close/>
                      <a:moveTo>
                        <a:pt x="101706" y="621492"/>
                      </a:moveTo>
                      <a:lnTo>
                        <a:pt x="101419" y="622610"/>
                      </a:lnTo>
                      <a:lnTo>
                        <a:pt x="104335" y="623356"/>
                      </a:lnTo>
                      <a:lnTo>
                        <a:pt x="101706" y="621492"/>
                      </a:lnTo>
                      <a:close/>
                    </a:path>
                  </a:pathLst>
                </a:custGeom>
                <a:solidFill>
                  <a:srgbClr val="D6F2E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863949"/>
                  <a:endParaRPr lang="en-US">
                    <a:solidFill>
                      <a:srgbClr val="555C6B"/>
                    </a:solidFill>
                    <a:latin typeface="Calibri"/>
                  </a:endParaRPr>
                </a:p>
              </p:txBody>
            </p:sp>
            <p:sp>
              <p:nvSpPr>
                <p:cNvPr id="13" name="Freeform: Shape 74">
                  <a:extLst>
                    <a:ext uri="{FF2B5EF4-FFF2-40B4-BE49-F238E27FC236}">
                      <a16:creationId xmlns:a16="http://schemas.microsoft.com/office/drawing/2014/main" id="{2CD8064E-6D8B-F0F3-03AC-7BE570DA6A91}"/>
                    </a:ext>
                  </a:extLst>
                </p:cNvPr>
                <p:cNvSpPr/>
                <p:nvPr/>
              </p:nvSpPr>
              <p:spPr>
                <a:xfrm>
                  <a:off x="4051505" y="4357631"/>
                  <a:ext cx="1367762" cy="1334727"/>
                </a:xfrm>
                <a:custGeom>
                  <a:avLst/>
                  <a:gdLst>
                    <a:gd name="connsiteX0" fmla="*/ 1204540 w 1367762"/>
                    <a:gd name="connsiteY0" fmla="*/ 0 h 1334727"/>
                    <a:gd name="connsiteX1" fmla="*/ 1204939 w 1367762"/>
                    <a:gd name="connsiteY1" fmla="*/ 657 h 1334727"/>
                    <a:gd name="connsiteX2" fmla="*/ 1204843 w 1367762"/>
                    <a:gd name="connsiteY2" fmla="*/ 775 h 1334727"/>
                    <a:gd name="connsiteX3" fmla="*/ 1204968 w 1367762"/>
                    <a:gd name="connsiteY3" fmla="*/ 704 h 1334727"/>
                    <a:gd name="connsiteX4" fmla="*/ 1238263 w 1367762"/>
                    <a:gd name="connsiteY4" fmla="*/ 55510 h 1334727"/>
                    <a:gd name="connsiteX5" fmla="*/ 1356988 w 1367762"/>
                    <a:gd name="connsiteY5" fmla="*/ 199405 h 1334727"/>
                    <a:gd name="connsiteX6" fmla="*/ 1367762 w 1367762"/>
                    <a:gd name="connsiteY6" fmla="*/ 208294 h 1334727"/>
                    <a:gd name="connsiteX7" fmla="*/ 1359186 w 1367762"/>
                    <a:gd name="connsiteY7" fmla="*/ 216998 h 1334727"/>
                    <a:gd name="connsiteX8" fmla="*/ 1283549 w 1367762"/>
                    <a:gd name="connsiteY8" fmla="*/ 392534 h 1334727"/>
                    <a:gd name="connsiteX9" fmla="*/ 977198 w 1367762"/>
                    <a:gd name="connsiteY9" fmla="*/ 810610 h 1334727"/>
                    <a:gd name="connsiteX10" fmla="*/ 565707 w 1367762"/>
                    <a:gd name="connsiteY10" fmla="*/ 1125752 h 1334727"/>
                    <a:gd name="connsiteX11" fmla="*/ 396816 w 1367762"/>
                    <a:gd name="connsiteY11" fmla="*/ 1202809 h 1334727"/>
                    <a:gd name="connsiteX12" fmla="*/ 541918 w 1367762"/>
                    <a:gd name="connsiteY12" fmla="*/ 1334687 h 1334727"/>
                    <a:gd name="connsiteX13" fmla="*/ 541971 w 1367762"/>
                    <a:gd name="connsiteY13" fmla="*/ 1334727 h 1334727"/>
                    <a:gd name="connsiteX14" fmla="*/ 541916 w 1367762"/>
                    <a:gd name="connsiteY14" fmla="*/ 1334686 h 1334727"/>
                    <a:gd name="connsiteX15" fmla="*/ 85722 w 1367762"/>
                    <a:gd name="connsiteY15" fmla="*/ 832626 h 1334727"/>
                    <a:gd name="connsiteX16" fmla="*/ 0 w 1367762"/>
                    <a:gd name="connsiteY16" fmla="*/ 691524 h 1334727"/>
                    <a:gd name="connsiteX17" fmla="*/ 5808 w 1367762"/>
                    <a:gd name="connsiteY17" fmla="*/ 688194 h 1334727"/>
                    <a:gd name="connsiteX18" fmla="*/ 122509 w 1367762"/>
                    <a:gd name="connsiteY18" fmla="*/ 543603 h 1334727"/>
                    <a:gd name="connsiteX19" fmla="*/ 529989 w 1367762"/>
                    <a:gd name="connsiteY19" fmla="*/ 223292 h 1334727"/>
                    <a:gd name="connsiteX20" fmla="*/ 1011059 w 1367762"/>
                    <a:gd name="connsiteY20" fmla="*/ 30393 h 1334727"/>
                    <a:gd name="connsiteX21" fmla="*/ 1204540 w 1367762"/>
                    <a:gd name="connsiteY21" fmla="*/ 0 h 13347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367762" h="1334727">
                      <a:moveTo>
                        <a:pt x="1204540" y="0"/>
                      </a:moveTo>
                      <a:lnTo>
                        <a:pt x="1204939" y="657"/>
                      </a:lnTo>
                      <a:lnTo>
                        <a:pt x="1204843" y="775"/>
                      </a:lnTo>
                      <a:lnTo>
                        <a:pt x="1204968" y="704"/>
                      </a:lnTo>
                      <a:lnTo>
                        <a:pt x="1238263" y="55510"/>
                      </a:lnTo>
                      <a:cubicBezTo>
                        <a:pt x="1273209" y="107236"/>
                        <a:pt x="1313001" y="155419"/>
                        <a:pt x="1356988" y="199405"/>
                      </a:cubicBezTo>
                      <a:lnTo>
                        <a:pt x="1367762" y="208294"/>
                      </a:lnTo>
                      <a:lnTo>
                        <a:pt x="1359186" y="216998"/>
                      </a:lnTo>
                      <a:lnTo>
                        <a:pt x="1283549" y="392534"/>
                      </a:lnTo>
                      <a:cubicBezTo>
                        <a:pt x="1207082" y="538356"/>
                        <a:pt x="1104513" y="680568"/>
                        <a:pt x="977198" y="810610"/>
                      </a:cubicBezTo>
                      <a:cubicBezTo>
                        <a:pt x="849883" y="940652"/>
                        <a:pt x="709876" y="1046212"/>
                        <a:pt x="565707" y="1125752"/>
                      </a:cubicBezTo>
                      <a:lnTo>
                        <a:pt x="396816" y="1202809"/>
                      </a:lnTo>
                      <a:lnTo>
                        <a:pt x="541918" y="1334687"/>
                      </a:lnTo>
                      <a:lnTo>
                        <a:pt x="541971" y="1334727"/>
                      </a:lnTo>
                      <a:lnTo>
                        <a:pt x="541916" y="1334686"/>
                      </a:lnTo>
                      <a:cubicBezTo>
                        <a:pt x="366919" y="1190266"/>
                        <a:pt x="213073" y="1021131"/>
                        <a:pt x="85722" y="832626"/>
                      </a:cubicBezTo>
                      <a:lnTo>
                        <a:pt x="0" y="691524"/>
                      </a:lnTo>
                      <a:lnTo>
                        <a:pt x="5808" y="688194"/>
                      </a:lnTo>
                      <a:lnTo>
                        <a:pt x="122509" y="543603"/>
                      </a:lnTo>
                      <a:cubicBezTo>
                        <a:pt x="235368" y="423711"/>
                        <a:pt x="372397" y="314314"/>
                        <a:pt x="529989" y="223292"/>
                      </a:cubicBezTo>
                      <a:cubicBezTo>
                        <a:pt x="687580" y="132270"/>
                        <a:pt x="850813" y="68241"/>
                        <a:pt x="1011059" y="30393"/>
                      </a:cubicBezTo>
                      <a:lnTo>
                        <a:pt x="1204540" y="0"/>
                      </a:lnTo>
                      <a:close/>
                    </a:path>
                  </a:pathLst>
                </a:custGeom>
                <a:solidFill>
                  <a:srgbClr val="D6F2E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863949"/>
                  <a:endParaRPr lang="en-US">
                    <a:solidFill>
                      <a:srgbClr val="555C6B"/>
                    </a:solidFill>
                    <a:latin typeface="Calibri"/>
                  </a:endParaRPr>
                </a:p>
              </p:txBody>
            </p:sp>
            <p:sp>
              <p:nvSpPr>
                <p:cNvPr id="14" name="Freeform: Shape 75">
                  <a:extLst>
                    <a:ext uri="{FF2B5EF4-FFF2-40B4-BE49-F238E27FC236}">
                      <a16:creationId xmlns:a16="http://schemas.microsoft.com/office/drawing/2014/main" id="{68AFFEFF-280B-64D1-26D4-31D7A0C35B48}"/>
                    </a:ext>
                  </a:extLst>
                </p:cNvPr>
                <p:cNvSpPr/>
                <p:nvPr/>
              </p:nvSpPr>
              <p:spPr>
                <a:xfrm>
                  <a:off x="5956274" y="4798090"/>
                  <a:ext cx="800597" cy="1433398"/>
                </a:xfrm>
                <a:custGeom>
                  <a:avLst/>
                  <a:gdLst>
                    <a:gd name="connsiteX0" fmla="*/ 428878 w 800597"/>
                    <a:gd name="connsiteY0" fmla="*/ 0 h 1433398"/>
                    <a:gd name="connsiteX1" fmla="*/ 428854 w 800597"/>
                    <a:gd name="connsiteY1" fmla="*/ 9 h 1433398"/>
                    <a:gd name="connsiteX2" fmla="*/ 404267 w 800597"/>
                    <a:gd name="connsiteY2" fmla="*/ 6332 h 1433398"/>
                    <a:gd name="connsiteX3" fmla="*/ 522082 w 800597"/>
                    <a:gd name="connsiteY3" fmla="*/ 163718 h 1433398"/>
                    <a:gd name="connsiteX4" fmla="*/ 732030 w 800597"/>
                    <a:gd name="connsiteY4" fmla="*/ 637597 h 1433398"/>
                    <a:gd name="connsiteX5" fmla="*/ 800354 w 800597"/>
                    <a:gd name="connsiteY5" fmla="*/ 1151377 h 1433398"/>
                    <a:gd name="connsiteX6" fmla="*/ 782439 w 800597"/>
                    <a:gd name="connsiteY6" fmla="*/ 1342798 h 1433398"/>
                    <a:gd name="connsiteX7" fmla="*/ 779152 w 800597"/>
                    <a:gd name="connsiteY7" fmla="*/ 1343643 h 1433398"/>
                    <a:gd name="connsiteX8" fmla="*/ 768204 w 800597"/>
                    <a:gd name="connsiteY8" fmla="*/ 1329017 h 1433398"/>
                    <a:gd name="connsiteX9" fmla="*/ 772712 w 800597"/>
                    <a:gd name="connsiteY9" fmla="*/ 1345299 h 1433398"/>
                    <a:gd name="connsiteX10" fmla="*/ 615793 w 800597"/>
                    <a:gd name="connsiteY10" fmla="*/ 1385646 h 1433398"/>
                    <a:gd name="connsiteX11" fmla="*/ 381248 w 800597"/>
                    <a:gd name="connsiteY11" fmla="*/ 1421442 h 1433398"/>
                    <a:gd name="connsiteX12" fmla="*/ 144491 w 800597"/>
                    <a:gd name="connsiteY12" fmla="*/ 1433398 h 1433398"/>
                    <a:gd name="connsiteX13" fmla="*/ 144491 w 800597"/>
                    <a:gd name="connsiteY13" fmla="*/ 1425204 h 1433398"/>
                    <a:gd name="connsiteX14" fmla="*/ 74810 w 800597"/>
                    <a:gd name="connsiteY14" fmla="*/ 1245745 h 1433398"/>
                    <a:gd name="connsiteX15" fmla="*/ 6 w 800597"/>
                    <a:gd name="connsiteY15" fmla="*/ 732868 h 1433398"/>
                    <a:gd name="connsiteX16" fmla="*/ 72339 w 800597"/>
                    <a:gd name="connsiteY16" fmla="*/ 219636 h 1433398"/>
                    <a:gd name="connsiteX17" fmla="*/ 139673 w 800597"/>
                    <a:gd name="connsiteY17" fmla="*/ 43717 h 1433398"/>
                    <a:gd name="connsiteX18" fmla="*/ 139727 w 800597"/>
                    <a:gd name="connsiteY18" fmla="*/ 43720 h 1433398"/>
                    <a:gd name="connsiteX19" fmla="*/ 428854 w 800597"/>
                    <a:gd name="connsiteY19" fmla="*/ 8 h 1433398"/>
                    <a:gd name="connsiteX20" fmla="*/ 428878 w 800597"/>
                    <a:gd name="connsiteY20" fmla="*/ 0 h 1433398"/>
                    <a:gd name="connsiteX21" fmla="*/ 404038 w 800597"/>
                    <a:gd name="connsiteY21" fmla="*/ 6390 h 1433398"/>
                    <a:gd name="connsiteX22" fmla="*/ 402156 w 800597"/>
                    <a:gd name="connsiteY22" fmla="*/ 6874 h 1433398"/>
                    <a:gd name="connsiteX23" fmla="*/ 403529 w 800597"/>
                    <a:gd name="connsiteY23" fmla="*/ 11831 h 1433398"/>
                    <a:gd name="connsiteX24" fmla="*/ 404038 w 800597"/>
                    <a:gd name="connsiteY24" fmla="*/ 6390 h 14333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800597" h="1433398">
                      <a:moveTo>
                        <a:pt x="428878" y="0"/>
                      </a:moveTo>
                      <a:lnTo>
                        <a:pt x="428854" y="9"/>
                      </a:lnTo>
                      <a:lnTo>
                        <a:pt x="404267" y="6332"/>
                      </a:lnTo>
                      <a:lnTo>
                        <a:pt x="522082" y="163718"/>
                      </a:lnTo>
                      <a:cubicBezTo>
                        <a:pt x="610444" y="302655"/>
                        <a:pt x="682676" y="462427"/>
                        <a:pt x="732030" y="637597"/>
                      </a:cubicBezTo>
                      <a:cubicBezTo>
                        <a:pt x="781383" y="812766"/>
                        <a:pt x="803187" y="986747"/>
                        <a:pt x="800354" y="1151377"/>
                      </a:cubicBezTo>
                      <a:lnTo>
                        <a:pt x="782439" y="1342798"/>
                      </a:lnTo>
                      <a:lnTo>
                        <a:pt x="779152" y="1343643"/>
                      </a:lnTo>
                      <a:lnTo>
                        <a:pt x="768204" y="1329017"/>
                      </a:lnTo>
                      <a:lnTo>
                        <a:pt x="772712" y="1345299"/>
                      </a:lnTo>
                      <a:lnTo>
                        <a:pt x="615793" y="1385646"/>
                      </a:lnTo>
                      <a:cubicBezTo>
                        <a:pt x="538906" y="1401380"/>
                        <a:pt x="460659" y="1413378"/>
                        <a:pt x="381248" y="1421442"/>
                      </a:cubicBezTo>
                      <a:lnTo>
                        <a:pt x="144491" y="1433398"/>
                      </a:lnTo>
                      <a:lnTo>
                        <a:pt x="144491" y="1425204"/>
                      </a:lnTo>
                      <a:lnTo>
                        <a:pt x="74810" y="1245745"/>
                      </a:lnTo>
                      <a:cubicBezTo>
                        <a:pt x="27057" y="1088167"/>
                        <a:pt x="444" y="914856"/>
                        <a:pt x="6" y="732868"/>
                      </a:cubicBezTo>
                      <a:cubicBezTo>
                        <a:pt x="-433" y="550880"/>
                        <a:pt x="25346" y="377443"/>
                        <a:pt x="72339" y="219636"/>
                      </a:cubicBezTo>
                      <a:lnTo>
                        <a:pt x="139673" y="43717"/>
                      </a:lnTo>
                      <a:lnTo>
                        <a:pt x="139727" y="43720"/>
                      </a:lnTo>
                      <a:cubicBezTo>
                        <a:pt x="240410" y="43720"/>
                        <a:pt x="337519" y="28417"/>
                        <a:pt x="428854" y="8"/>
                      </a:cubicBezTo>
                      <a:lnTo>
                        <a:pt x="428878" y="0"/>
                      </a:lnTo>
                      <a:close/>
                      <a:moveTo>
                        <a:pt x="404038" y="6390"/>
                      </a:moveTo>
                      <a:lnTo>
                        <a:pt x="402156" y="6874"/>
                      </a:lnTo>
                      <a:lnTo>
                        <a:pt x="403529" y="11831"/>
                      </a:lnTo>
                      <a:lnTo>
                        <a:pt x="404038" y="6390"/>
                      </a:lnTo>
                      <a:close/>
                    </a:path>
                  </a:pathLst>
                </a:custGeom>
                <a:solidFill>
                  <a:srgbClr val="D6F2E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863949"/>
                  <a:endParaRPr lang="en-US">
                    <a:solidFill>
                      <a:srgbClr val="555C6B"/>
                    </a:solidFill>
                    <a:latin typeface="Calibri"/>
                  </a:endParaRPr>
                </a:p>
              </p:txBody>
            </p:sp>
            <p:sp>
              <p:nvSpPr>
                <p:cNvPr id="15" name="Freeform: Shape 76">
                  <a:extLst>
                    <a:ext uri="{FF2B5EF4-FFF2-40B4-BE49-F238E27FC236}">
                      <a16:creationId xmlns:a16="http://schemas.microsoft.com/office/drawing/2014/main" id="{31C87C3C-428D-EAA1-23FB-35DBBC8103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59960" y="1507569"/>
                  <a:ext cx="1794493" cy="1675247"/>
                </a:xfrm>
                <a:custGeom>
                  <a:avLst/>
                  <a:gdLst>
                    <a:gd name="connsiteX0" fmla="*/ 1000768 w 1794493"/>
                    <a:gd name="connsiteY0" fmla="*/ 1593104 h 1675247"/>
                    <a:gd name="connsiteX1" fmla="*/ 821788 w 1794493"/>
                    <a:gd name="connsiteY1" fmla="*/ 1675247 h 1675247"/>
                    <a:gd name="connsiteX2" fmla="*/ 821789 w 1794493"/>
                    <a:gd name="connsiteY2" fmla="*/ 1675246 h 1675247"/>
                    <a:gd name="connsiteX3" fmla="*/ 1341893 w 1794493"/>
                    <a:gd name="connsiteY3" fmla="*/ 1343569 h 1675247"/>
                    <a:gd name="connsiteX4" fmla="*/ 1314028 w 1794493"/>
                    <a:gd name="connsiteY4" fmla="*/ 1370179 h 1675247"/>
                    <a:gd name="connsiteX5" fmla="*/ 1000768 w 1794493"/>
                    <a:gd name="connsiteY5" fmla="*/ 1593104 h 1675247"/>
                    <a:gd name="connsiteX6" fmla="*/ 1314028 w 1794493"/>
                    <a:gd name="connsiteY6" fmla="*/ 1370179 h 1675247"/>
                    <a:gd name="connsiteX7" fmla="*/ 1794493 w 1794493"/>
                    <a:gd name="connsiteY7" fmla="*/ 677255 h 1675247"/>
                    <a:gd name="connsiteX8" fmla="*/ 1716970 w 1794493"/>
                    <a:gd name="connsiteY8" fmla="*/ 858284 h 1675247"/>
                    <a:gd name="connsiteX9" fmla="*/ 1665319 w 1794493"/>
                    <a:gd name="connsiteY9" fmla="*/ 948863 h 1675247"/>
                    <a:gd name="connsiteX10" fmla="*/ 1716970 w 1794493"/>
                    <a:gd name="connsiteY10" fmla="*/ 858284 h 1675247"/>
                    <a:gd name="connsiteX11" fmla="*/ 1794493 w 1794493"/>
                    <a:gd name="connsiteY11" fmla="*/ 677255 h 1675247"/>
                    <a:gd name="connsiteX12" fmla="*/ 245786 w 1794493"/>
                    <a:gd name="connsiteY12" fmla="*/ 305377 h 1675247"/>
                    <a:gd name="connsiteX13" fmla="*/ 288818 w 1794493"/>
                    <a:gd name="connsiteY13" fmla="*/ 697231 h 1675247"/>
                    <a:gd name="connsiteX14" fmla="*/ 245786 w 1794493"/>
                    <a:gd name="connsiteY14" fmla="*/ 305377 h 1675247"/>
                    <a:gd name="connsiteX15" fmla="*/ 140803 w 1794493"/>
                    <a:gd name="connsiteY15" fmla="*/ 0 h 1675247"/>
                    <a:gd name="connsiteX16" fmla="*/ 377562 w 1794493"/>
                    <a:gd name="connsiteY16" fmla="*/ 11955 h 1675247"/>
                    <a:gd name="connsiteX17" fmla="*/ 1638619 w 1794493"/>
                    <a:gd name="connsiteY17" fmla="*/ 539171 h 1675247"/>
                    <a:gd name="connsiteX18" fmla="*/ 1791067 w 1794493"/>
                    <a:gd name="connsiteY18" fmla="*/ 677725 h 1675247"/>
                    <a:gd name="connsiteX19" fmla="*/ 1789115 w 1794493"/>
                    <a:gd name="connsiteY19" fmla="*/ 679723 h 1675247"/>
                    <a:gd name="connsiteX20" fmla="*/ 1615513 w 1794493"/>
                    <a:gd name="connsiteY20" fmla="*/ 759398 h 1675247"/>
                    <a:gd name="connsiteX21" fmla="*/ 1204728 w 1794493"/>
                    <a:gd name="connsiteY21" fmla="*/ 1075459 h 1675247"/>
                    <a:gd name="connsiteX22" fmla="*/ 899312 w 1794493"/>
                    <a:gd name="connsiteY22" fmla="*/ 1494218 h 1675247"/>
                    <a:gd name="connsiteX23" fmla="*/ 825974 w 1794493"/>
                    <a:gd name="connsiteY23" fmla="*/ 1665472 h 1675247"/>
                    <a:gd name="connsiteX24" fmla="*/ 820032 w 1794493"/>
                    <a:gd name="connsiteY24" fmla="*/ 1671551 h 1675247"/>
                    <a:gd name="connsiteX25" fmla="*/ 679653 w 1794493"/>
                    <a:gd name="connsiteY25" fmla="*/ 1555728 h 1675247"/>
                    <a:gd name="connsiteX26" fmla="*/ 235451 w 1794493"/>
                    <a:gd name="connsiteY26" fmla="*/ 1394697 h 1675247"/>
                    <a:gd name="connsiteX27" fmla="*/ 147665 w 1794493"/>
                    <a:gd name="connsiteY27" fmla="*/ 1390265 h 1675247"/>
                    <a:gd name="connsiteX28" fmla="*/ 216485 w 1794493"/>
                    <a:gd name="connsiteY28" fmla="*/ 1210463 h 1675247"/>
                    <a:gd name="connsiteX29" fmla="*/ 146089 w 1794493"/>
                    <a:gd name="connsiteY29" fmla="*/ 1394381 h 1675247"/>
                    <a:gd name="connsiteX30" fmla="*/ 141369 w 1794493"/>
                    <a:gd name="connsiteY30" fmla="*/ 1382225 h 1675247"/>
                    <a:gd name="connsiteX31" fmla="*/ 144427 w 1794493"/>
                    <a:gd name="connsiteY31" fmla="*/ 1390101 h 1675247"/>
                    <a:gd name="connsiteX32" fmla="*/ 140803 w 1794493"/>
                    <a:gd name="connsiteY32" fmla="*/ 1389918 h 1675247"/>
                    <a:gd name="connsiteX33" fmla="*/ 140803 w 1794493"/>
                    <a:gd name="connsiteY33" fmla="*/ 1380767 h 1675247"/>
                    <a:gd name="connsiteX34" fmla="*/ 74810 w 1794493"/>
                    <a:gd name="connsiteY34" fmla="*/ 1210804 h 1675247"/>
                    <a:gd name="connsiteX35" fmla="*/ 5 w 1794493"/>
                    <a:gd name="connsiteY35" fmla="*/ 697927 h 1675247"/>
                    <a:gd name="connsiteX36" fmla="*/ 72338 w 1794493"/>
                    <a:gd name="connsiteY36" fmla="*/ 184695 h 1675247"/>
                    <a:gd name="connsiteX37" fmla="*/ 140803 w 1794493"/>
                    <a:gd name="connsiteY37" fmla="*/ 5820 h 16752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1794493" h="1675247">
                      <a:moveTo>
                        <a:pt x="1000768" y="1593104"/>
                      </a:moveTo>
                      <a:lnTo>
                        <a:pt x="821788" y="1675247"/>
                      </a:lnTo>
                      <a:lnTo>
                        <a:pt x="821789" y="1675246"/>
                      </a:lnTo>
                      <a:close/>
                      <a:moveTo>
                        <a:pt x="1341893" y="1343569"/>
                      </a:moveTo>
                      <a:lnTo>
                        <a:pt x="1314028" y="1370179"/>
                      </a:lnTo>
                      <a:cubicBezTo>
                        <a:pt x="1214380" y="1458680"/>
                        <a:pt x="1108761" y="1533208"/>
                        <a:pt x="1000768" y="1593104"/>
                      </a:cubicBezTo>
                      <a:cubicBezTo>
                        <a:pt x="1108761" y="1533208"/>
                        <a:pt x="1214380" y="1458680"/>
                        <a:pt x="1314028" y="1370179"/>
                      </a:cubicBezTo>
                      <a:close/>
                      <a:moveTo>
                        <a:pt x="1794493" y="677255"/>
                      </a:moveTo>
                      <a:lnTo>
                        <a:pt x="1716970" y="858284"/>
                      </a:lnTo>
                      <a:lnTo>
                        <a:pt x="1665319" y="948863"/>
                      </a:lnTo>
                      <a:lnTo>
                        <a:pt x="1716970" y="858284"/>
                      </a:lnTo>
                      <a:lnTo>
                        <a:pt x="1794493" y="677255"/>
                      </a:lnTo>
                      <a:close/>
                      <a:moveTo>
                        <a:pt x="245786" y="305377"/>
                      </a:moveTo>
                      <a:cubicBezTo>
                        <a:pt x="273437" y="429130"/>
                        <a:pt x="288489" y="560740"/>
                        <a:pt x="288818" y="697231"/>
                      </a:cubicBezTo>
                      <a:cubicBezTo>
                        <a:pt x="288490" y="560740"/>
                        <a:pt x="273437" y="429130"/>
                        <a:pt x="245786" y="305377"/>
                      </a:cubicBezTo>
                      <a:close/>
                      <a:moveTo>
                        <a:pt x="140803" y="0"/>
                      </a:moveTo>
                      <a:lnTo>
                        <a:pt x="377562" y="11955"/>
                      </a:lnTo>
                      <a:cubicBezTo>
                        <a:pt x="854023" y="60342"/>
                        <a:pt x="1288624" y="250329"/>
                        <a:pt x="1638619" y="539171"/>
                      </a:cubicBezTo>
                      <a:lnTo>
                        <a:pt x="1791067" y="677725"/>
                      </a:lnTo>
                      <a:lnTo>
                        <a:pt x="1789115" y="679723"/>
                      </a:lnTo>
                      <a:lnTo>
                        <a:pt x="1615513" y="759398"/>
                      </a:lnTo>
                      <a:cubicBezTo>
                        <a:pt x="1471522" y="839260"/>
                        <a:pt x="1331752" y="945133"/>
                        <a:pt x="1204728" y="1075459"/>
                      </a:cubicBezTo>
                      <a:cubicBezTo>
                        <a:pt x="1077704" y="1205785"/>
                        <a:pt x="975453" y="1348226"/>
                        <a:pt x="899312" y="1494218"/>
                      </a:cubicBezTo>
                      <a:lnTo>
                        <a:pt x="825974" y="1665472"/>
                      </a:lnTo>
                      <a:lnTo>
                        <a:pt x="820032" y="1671551"/>
                      </a:lnTo>
                      <a:lnTo>
                        <a:pt x="679653" y="1555728"/>
                      </a:lnTo>
                      <a:cubicBezTo>
                        <a:pt x="550338" y="1468365"/>
                        <a:pt x="398877" y="1411294"/>
                        <a:pt x="235451" y="1394697"/>
                      </a:cubicBezTo>
                      <a:lnTo>
                        <a:pt x="147665" y="1390265"/>
                      </a:lnTo>
                      <a:lnTo>
                        <a:pt x="216485" y="1210463"/>
                      </a:lnTo>
                      <a:lnTo>
                        <a:pt x="146089" y="1394381"/>
                      </a:lnTo>
                      <a:lnTo>
                        <a:pt x="141369" y="1382225"/>
                      </a:lnTo>
                      <a:lnTo>
                        <a:pt x="144427" y="1390101"/>
                      </a:lnTo>
                      <a:lnTo>
                        <a:pt x="140803" y="1389918"/>
                      </a:lnTo>
                      <a:lnTo>
                        <a:pt x="140803" y="1380767"/>
                      </a:lnTo>
                      <a:lnTo>
                        <a:pt x="74810" y="1210804"/>
                      </a:lnTo>
                      <a:cubicBezTo>
                        <a:pt x="27057" y="1053226"/>
                        <a:pt x="443" y="879915"/>
                        <a:pt x="5" y="697927"/>
                      </a:cubicBezTo>
                      <a:cubicBezTo>
                        <a:pt x="-433" y="515938"/>
                        <a:pt x="25345" y="342502"/>
                        <a:pt x="72338" y="184695"/>
                      </a:cubicBezTo>
                      <a:lnTo>
                        <a:pt x="140803" y="5820"/>
                      </a:lnTo>
                      <a:close/>
                    </a:path>
                  </a:pathLst>
                </a:custGeom>
                <a:solidFill>
                  <a:srgbClr val="3FBE80"/>
                </a:solidFill>
                <a:ln>
                  <a:noFill/>
                </a:ln>
              </p:spPr>
              <p:txBody>
                <a:bodyPr vert="horz" wrap="square" lIns="91439" tIns="45719" rIns="91439" bIns="4571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863949"/>
                  <a:endParaRPr lang="en-US">
                    <a:solidFill>
                      <a:srgbClr val="555C6B"/>
                    </a:solidFill>
                    <a:latin typeface="Calibri"/>
                  </a:endParaRPr>
                </a:p>
              </p:txBody>
            </p:sp>
            <p:sp>
              <p:nvSpPr>
                <p:cNvPr id="16" name="Freeform: Shape 77">
                  <a:extLst>
                    <a:ext uri="{FF2B5EF4-FFF2-40B4-BE49-F238E27FC236}">
                      <a16:creationId xmlns:a16="http://schemas.microsoft.com/office/drawing/2014/main" id="{B944DB91-B311-492E-D3B3-3F3C1B6208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7150" y="2692806"/>
                  <a:ext cx="1521051" cy="1783924"/>
                </a:xfrm>
                <a:custGeom>
                  <a:avLst/>
                  <a:gdLst>
                    <a:gd name="connsiteX0" fmla="*/ 1445323 w 1521051"/>
                    <a:gd name="connsiteY0" fmla="*/ 1760658 h 1783924"/>
                    <a:gd name="connsiteX1" fmla="*/ 1444173 w 1521051"/>
                    <a:gd name="connsiteY1" fmla="*/ 1765131 h 1783924"/>
                    <a:gd name="connsiteX2" fmla="*/ 1432626 w 1521051"/>
                    <a:gd name="connsiteY2" fmla="*/ 1762176 h 1783924"/>
                    <a:gd name="connsiteX3" fmla="*/ 1446252 w 1521051"/>
                    <a:gd name="connsiteY3" fmla="*/ 1760547 h 1783924"/>
                    <a:gd name="connsiteX4" fmla="*/ 1446253 w 1521051"/>
                    <a:gd name="connsiteY4" fmla="*/ 1760547 h 1783924"/>
                    <a:gd name="connsiteX5" fmla="*/ 1445323 w 1521051"/>
                    <a:gd name="connsiteY5" fmla="*/ 1760658 h 1783924"/>
                    <a:gd name="connsiteX6" fmla="*/ 1445323 w 1521051"/>
                    <a:gd name="connsiteY6" fmla="*/ 1760658 h 1783924"/>
                    <a:gd name="connsiteX7" fmla="*/ 1432626 w 1521051"/>
                    <a:gd name="connsiteY7" fmla="*/ 1762176 h 1783924"/>
                    <a:gd name="connsiteX8" fmla="*/ 1432626 w 1521051"/>
                    <a:gd name="connsiteY8" fmla="*/ 1762176 h 1783924"/>
                    <a:gd name="connsiteX9" fmla="*/ 1250716 w 1521051"/>
                    <a:gd name="connsiteY9" fmla="*/ 1783924 h 1783924"/>
                    <a:gd name="connsiteX10" fmla="*/ 256242 w 1521051"/>
                    <a:gd name="connsiteY10" fmla="*/ 1531085 h 1783924"/>
                    <a:gd name="connsiteX11" fmla="*/ 735351 w 1521051"/>
                    <a:gd name="connsiteY11" fmla="*/ 1728805 h 1783924"/>
                    <a:gd name="connsiteX12" fmla="*/ 256242 w 1521051"/>
                    <a:gd name="connsiteY12" fmla="*/ 1531085 h 1783924"/>
                    <a:gd name="connsiteX13" fmla="*/ 95614 w 1521051"/>
                    <a:gd name="connsiteY13" fmla="*/ 1417155 h 1783924"/>
                    <a:gd name="connsiteX14" fmla="*/ 256242 w 1521051"/>
                    <a:gd name="connsiteY14" fmla="*/ 1531085 h 1783924"/>
                    <a:gd name="connsiteX15" fmla="*/ 101902 w 1521051"/>
                    <a:gd name="connsiteY15" fmla="*/ 1421615 h 1783924"/>
                    <a:gd name="connsiteX16" fmla="*/ 98987 w 1521051"/>
                    <a:gd name="connsiteY16" fmla="*/ 1420869 h 1783924"/>
                    <a:gd name="connsiteX17" fmla="*/ 99274 w 1521051"/>
                    <a:gd name="connsiteY17" fmla="*/ 1419751 h 1783924"/>
                    <a:gd name="connsiteX18" fmla="*/ 100303 w 1521051"/>
                    <a:gd name="connsiteY18" fmla="*/ 1420481 h 1783924"/>
                    <a:gd name="connsiteX19" fmla="*/ 99274 w 1521051"/>
                    <a:gd name="connsiteY19" fmla="*/ 1419751 h 1783924"/>
                    <a:gd name="connsiteX20" fmla="*/ 99274 w 1521051"/>
                    <a:gd name="connsiteY20" fmla="*/ 1419751 h 1783924"/>
                    <a:gd name="connsiteX21" fmla="*/ 95614 w 1521051"/>
                    <a:gd name="connsiteY21" fmla="*/ 1417155 h 1783924"/>
                    <a:gd name="connsiteX22" fmla="*/ 587467 w 1521051"/>
                    <a:gd name="connsiteY22" fmla="*/ 1407991 h 1783924"/>
                    <a:gd name="connsiteX23" fmla="*/ 587469 w 1521051"/>
                    <a:gd name="connsiteY23" fmla="*/ 1407991 h 1783924"/>
                    <a:gd name="connsiteX24" fmla="*/ 630825 w 1521051"/>
                    <a:gd name="connsiteY24" fmla="*/ 1414145 h 1783924"/>
                    <a:gd name="connsiteX25" fmla="*/ 630826 w 1521051"/>
                    <a:gd name="connsiteY25" fmla="*/ 1414145 h 1783924"/>
                    <a:gd name="connsiteX26" fmla="*/ 993897 w 1521051"/>
                    <a:gd name="connsiteY26" fmla="*/ 243345 h 1783924"/>
                    <a:gd name="connsiteX27" fmla="*/ 676058 w 1521051"/>
                    <a:gd name="connsiteY27" fmla="*/ 476539 h 1783924"/>
                    <a:gd name="connsiteX28" fmla="*/ 993897 w 1521051"/>
                    <a:gd name="connsiteY28" fmla="*/ 243345 h 1783924"/>
                    <a:gd name="connsiteX29" fmla="*/ 1205110 w 1521051"/>
                    <a:gd name="connsiteY29" fmla="*/ 0 h 1783924"/>
                    <a:gd name="connsiteX30" fmla="*/ 1235946 w 1521051"/>
                    <a:gd name="connsiteY30" fmla="*/ 50758 h 1783924"/>
                    <a:gd name="connsiteX31" fmla="*/ 1521051 w 1521051"/>
                    <a:gd name="connsiteY31" fmla="*/ 1176723 h 1783924"/>
                    <a:gd name="connsiteX32" fmla="*/ 1473060 w 1521051"/>
                    <a:gd name="connsiteY32" fmla="*/ 1652789 h 1783924"/>
                    <a:gd name="connsiteX33" fmla="*/ 1445491 w 1521051"/>
                    <a:gd name="connsiteY33" fmla="*/ 1760006 h 1783924"/>
                    <a:gd name="connsiteX34" fmla="*/ 1285625 w 1521051"/>
                    <a:gd name="connsiteY34" fmla="*/ 1646617 h 1783924"/>
                    <a:gd name="connsiteX35" fmla="*/ 806516 w 1521051"/>
                    <a:gd name="connsiteY35" fmla="*/ 1448897 h 1783924"/>
                    <a:gd name="connsiteX36" fmla="*/ 674714 w 1521051"/>
                    <a:gd name="connsiteY36" fmla="*/ 1420374 h 1783924"/>
                    <a:gd name="connsiteX37" fmla="*/ 630825 w 1521051"/>
                    <a:gd name="connsiteY37" fmla="*/ 1414145 h 1783924"/>
                    <a:gd name="connsiteX38" fmla="*/ 609317 w 1521051"/>
                    <a:gd name="connsiteY38" fmla="*/ 1409891 h 1783924"/>
                    <a:gd name="connsiteX39" fmla="*/ 587469 w 1521051"/>
                    <a:gd name="connsiteY39" fmla="*/ 1407991 h 1783924"/>
                    <a:gd name="connsiteX40" fmla="*/ 544381 w 1521051"/>
                    <a:gd name="connsiteY40" fmla="*/ 1401876 h 1783924"/>
                    <a:gd name="connsiteX41" fmla="*/ 291151 w 1521051"/>
                    <a:gd name="connsiteY41" fmla="*/ 1393778 h 1783924"/>
                    <a:gd name="connsiteX42" fmla="*/ 353554 w 1521051"/>
                    <a:gd name="connsiteY42" fmla="*/ 1393444 h 1783924"/>
                    <a:gd name="connsiteX43" fmla="*/ 291151 w 1521051"/>
                    <a:gd name="connsiteY43" fmla="*/ 1393778 h 1783924"/>
                    <a:gd name="connsiteX44" fmla="*/ 210463 w 1521051"/>
                    <a:gd name="connsiteY44" fmla="*/ 1403425 h 1783924"/>
                    <a:gd name="connsiteX45" fmla="*/ 100079 w 1521051"/>
                    <a:gd name="connsiteY45" fmla="*/ 1416621 h 1783924"/>
                    <a:gd name="connsiteX46" fmla="*/ 111380 w 1521051"/>
                    <a:gd name="connsiteY46" fmla="*/ 1372672 h 1783924"/>
                    <a:gd name="connsiteX47" fmla="*/ 131133 w 1521051"/>
                    <a:gd name="connsiteY47" fmla="*/ 1176723 h 1783924"/>
                    <a:gd name="connsiteX48" fmla="*/ 54726 w 1521051"/>
                    <a:gd name="connsiteY48" fmla="*/ 798267 h 1783924"/>
                    <a:gd name="connsiteX49" fmla="*/ 2106 w 1521051"/>
                    <a:gd name="connsiteY49" fmla="*/ 701322 h 1783924"/>
                    <a:gd name="connsiteX50" fmla="*/ 195419 w 1521051"/>
                    <a:gd name="connsiteY50" fmla="*/ 670512 h 1783924"/>
                    <a:gd name="connsiteX51" fmla="*/ 944 w 1521051"/>
                    <a:gd name="connsiteY51" fmla="*/ 701507 h 1783924"/>
                    <a:gd name="connsiteX52" fmla="*/ 1698 w 1521051"/>
                    <a:gd name="connsiteY52" fmla="*/ 700569 h 1783924"/>
                    <a:gd name="connsiteX53" fmla="*/ 0 w 1521051"/>
                    <a:gd name="connsiteY53" fmla="*/ 697441 h 1783924"/>
                    <a:gd name="connsiteX54" fmla="*/ 7870 w 1521051"/>
                    <a:gd name="connsiteY54" fmla="*/ 692886 h 1783924"/>
                    <a:gd name="connsiteX55" fmla="*/ 5871 w 1521051"/>
                    <a:gd name="connsiteY55" fmla="*/ 695374 h 1783924"/>
                    <a:gd name="connsiteX56" fmla="*/ 7870 w 1521051"/>
                    <a:gd name="connsiteY56" fmla="*/ 692886 h 1783924"/>
                    <a:gd name="connsiteX57" fmla="*/ 7870 w 1521051"/>
                    <a:gd name="connsiteY57" fmla="*/ 692886 h 1783924"/>
                    <a:gd name="connsiteX58" fmla="*/ 124287 w 1521051"/>
                    <a:gd name="connsiteY58" fmla="*/ 547989 h 1783924"/>
                    <a:gd name="connsiteX59" fmla="*/ 531049 w 1521051"/>
                    <a:gd name="connsiteY59" fmla="*/ 226768 h 1783924"/>
                    <a:gd name="connsiteX60" fmla="*/ 1011688 w 1521051"/>
                    <a:gd name="connsiteY60" fmla="*/ 32794 h 1783924"/>
                    <a:gd name="connsiteX61" fmla="*/ 1200422 w 1521051"/>
                    <a:gd name="connsiteY61" fmla="*/ 2713 h 1783924"/>
                    <a:gd name="connsiteX62" fmla="*/ 1200422 w 1521051"/>
                    <a:gd name="connsiteY62" fmla="*/ 2713 h 1783924"/>
                    <a:gd name="connsiteX63" fmla="*/ 1206162 w 1521051"/>
                    <a:gd name="connsiteY63" fmla="*/ 1798 h 1783924"/>
                    <a:gd name="connsiteX64" fmla="*/ 1200422 w 1521051"/>
                    <a:gd name="connsiteY64" fmla="*/ 2713 h 17839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</a:cxnLst>
                  <a:rect l="l" t="t" r="r" b="b"/>
                  <a:pathLst>
                    <a:path w="1521051" h="1783924">
                      <a:moveTo>
                        <a:pt x="1445323" y="1760658"/>
                      </a:moveTo>
                      <a:lnTo>
                        <a:pt x="1444173" y="1765131"/>
                      </a:lnTo>
                      <a:lnTo>
                        <a:pt x="1432626" y="1762176"/>
                      </a:lnTo>
                      <a:close/>
                      <a:moveTo>
                        <a:pt x="1446252" y="1760547"/>
                      </a:moveTo>
                      <a:lnTo>
                        <a:pt x="1446253" y="1760547"/>
                      </a:lnTo>
                      <a:lnTo>
                        <a:pt x="1445323" y="1760658"/>
                      </a:lnTo>
                      <a:lnTo>
                        <a:pt x="1445323" y="1760658"/>
                      </a:lnTo>
                      <a:lnTo>
                        <a:pt x="1432626" y="1762176"/>
                      </a:lnTo>
                      <a:lnTo>
                        <a:pt x="1432626" y="1762176"/>
                      </a:lnTo>
                      <a:lnTo>
                        <a:pt x="1250716" y="1783924"/>
                      </a:lnTo>
                      <a:close/>
                      <a:moveTo>
                        <a:pt x="256242" y="1531085"/>
                      </a:moveTo>
                      <a:cubicBezTo>
                        <a:pt x="397400" y="1615854"/>
                        <a:pt x="558973" y="1683962"/>
                        <a:pt x="735351" y="1728805"/>
                      </a:cubicBezTo>
                      <a:cubicBezTo>
                        <a:pt x="558973" y="1683962"/>
                        <a:pt x="397400" y="1615854"/>
                        <a:pt x="256242" y="1531085"/>
                      </a:cubicBezTo>
                      <a:close/>
                      <a:moveTo>
                        <a:pt x="95614" y="1417155"/>
                      </a:moveTo>
                      <a:lnTo>
                        <a:pt x="256242" y="1531085"/>
                      </a:lnTo>
                      <a:lnTo>
                        <a:pt x="101902" y="1421615"/>
                      </a:lnTo>
                      <a:lnTo>
                        <a:pt x="98987" y="1420869"/>
                      </a:lnTo>
                      <a:lnTo>
                        <a:pt x="99274" y="1419751"/>
                      </a:lnTo>
                      <a:lnTo>
                        <a:pt x="100303" y="1420481"/>
                      </a:lnTo>
                      <a:lnTo>
                        <a:pt x="99274" y="1419751"/>
                      </a:lnTo>
                      <a:lnTo>
                        <a:pt x="99274" y="1419751"/>
                      </a:lnTo>
                      <a:lnTo>
                        <a:pt x="95614" y="1417155"/>
                      </a:lnTo>
                      <a:close/>
                      <a:moveTo>
                        <a:pt x="587467" y="1407991"/>
                      </a:moveTo>
                      <a:lnTo>
                        <a:pt x="587469" y="1407991"/>
                      </a:lnTo>
                      <a:lnTo>
                        <a:pt x="630825" y="1414145"/>
                      </a:lnTo>
                      <a:lnTo>
                        <a:pt x="630826" y="1414145"/>
                      </a:lnTo>
                      <a:close/>
                      <a:moveTo>
                        <a:pt x="993897" y="243345"/>
                      </a:moveTo>
                      <a:cubicBezTo>
                        <a:pt x="900550" y="329168"/>
                        <a:pt x="794098" y="408008"/>
                        <a:pt x="676058" y="476539"/>
                      </a:cubicBezTo>
                      <a:cubicBezTo>
                        <a:pt x="794098" y="408009"/>
                        <a:pt x="900550" y="329168"/>
                        <a:pt x="993897" y="243345"/>
                      </a:cubicBezTo>
                      <a:close/>
                      <a:moveTo>
                        <a:pt x="1205110" y="0"/>
                      </a:moveTo>
                      <a:lnTo>
                        <a:pt x="1235946" y="50758"/>
                      </a:lnTo>
                      <a:cubicBezTo>
                        <a:pt x="1417770" y="385466"/>
                        <a:pt x="1521051" y="769033"/>
                        <a:pt x="1521051" y="1176723"/>
                      </a:cubicBezTo>
                      <a:cubicBezTo>
                        <a:pt x="1521051" y="1339799"/>
                        <a:pt x="1504526" y="1499015"/>
                        <a:pt x="1473060" y="1652789"/>
                      </a:cubicBezTo>
                      <a:lnTo>
                        <a:pt x="1445491" y="1760006"/>
                      </a:lnTo>
                      <a:lnTo>
                        <a:pt x="1285625" y="1646617"/>
                      </a:lnTo>
                      <a:cubicBezTo>
                        <a:pt x="1144467" y="1561849"/>
                        <a:pt x="982894" y="1493740"/>
                        <a:pt x="806516" y="1448897"/>
                      </a:cubicBezTo>
                      <a:cubicBezTo>
                        <a:pt x="762422" y="1437686"/>
                        <a:pt x="718445" y="1428195"/>
                        <a:pt x="674714" y="1420374"/>
                      </a:cubicBezTo>
                      <a:lnTo>
                        <a:pt x="630825" y="1414145"/>
                      </a:lnTo>
                      <a:lnTo>
                        <a:pt x="609317" y="1409891"/>
                      </a:lnTo>
                      <a:lnTo>
                        <a:pt x="587469" y="1407991"/>
                      </a:lnTo>
                      <a:lnTo>
                        <a:pt x="544381" y="1401876"/>
                      </a:lnTo>
                      <a:cubicBezTo>
                        <a:pt x="458150" y="1392819"/>
                        <a:pt x="373403" y="1390250"/>
                        <a:pt x="291151" y="1393778"/>
                      </a:cubicBezTo>
                      <a:lnTo>
                        <a:pt x="353554" y="1393444"/>
                      </a:lnTo>
                      <a:lnTo>
                        <a:pt x="291151" y="1393778"/>
                      </a:lnTo>
                      <a:lnTo>
                        <a:pt x="210463" y="1403425"/>
                      </a:lnTo>
                      <a:lnTo>
                        <a:pt x="100079" y="1416621"/>
                      </a:lnTo>
                      <a:lnTo>
                        <a:pt x="111380" y="1372672"/>
                      </a:lnTo>
                      <a:cubicBezTo>
                        <a:pt x="124331" y="1309379"/>
                        <a:pt x="131133" y="1243845"/>
                        <a:pt x="131133" y="1176723"/>
                      </a:cubicBezTo>
                      <a:cubicBezTo>
                        <a:pt x="131133" y="1042479"/>
                        <a:pt x="103926" y="914589"/>
                        <a:pt x="54726" y="798267"/>
                      </a:cubicBezTo>
                      <a:lnTo>
                        <a:pt x="2106" y="701322"/>
                      </a:lnTo>
                      <a:lnTo>
                        <a:pt x="195419" y="670512"/>
                      </a:lnTo>
                      <a:lnTo>
                        <a:pt x="944" y="701507"/>
                      </a:lnTo>
                      <a:lnTo>
                        <a:pt x="1698" y="700569"/>
                      </a:lnTo>
                      <a:lnTo>
                        <a:pt x="0" y="697441"/>
                      </a:lnTo>
                      <a:lnTo>
                        <a:pt x="7870" y="692886"/>
                      </a:lnTo>
                      <a:lnTo>
                        <a:pt x="5871" y="695374"/>
                      </a:lnTo>
                      <a:lnTo>
                        <a:pt x="7870" y="692886"/>
                      </a:lnTo>
                      <a:lnTo>
                        <a:pt x="7870" y="692886"/>
                      </a:lnTo>
                      <a:lnTo>
                        <a:pt x="124287" y="547989"/>
                      </a:lnTo>
                      <a:cubicBezTo>
                        <a:pt x="236877" y="427845"/>
                        <a:pt x="373662" y="318141"/>
                        <a:pt x="531049" y="226768"/>
                      </a:cubicBezTo>
                      <a:cubicBezTo>
                        <a:pt x="688437" y="135394"/>
                        <a:pt x="851526" y="71000"/>
                        <a:pt x="1011688" y="32794"/>
                      </a:cubicBezTo>
                      <a:lnTo>
                        <a:pt x="1200422" y="2713"/>
                      </a:lnTo>
                      <a:lnTo>
                        <a:pt x="1200422" y="2713"/>
                      </a:lnTo>
                      <a:lnTo>
                        <a:pt x="1206162" y="1798"/>
                      </a:lnTo>
                      <a:lnTo>
                        <a:pt x="1200422" y="2713"/>
                      </a:lnTo>
                      <a:close/>
                    </a:path>
                  </a:pathLst>
                </a:custGeom>
                <a:solidFill>
                  <a:srgbClr val="3FBE80"/>
                </a:solidFill>
                <a:ln>
                  <a:noFill/>
                </a:ln>
              </p:spPr>
              <p:txBody>
                <a:bodyPr vert="horz" wrap="square" lIns="91439" tIns="45719" rIns="91439" bIns="4571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863949"/>
                  <a:endParaRPr lang="en-US">
                    <a:solidFill>
                      <a:srgbClr val="555C6B"/>
                    </a:solidFill>
                    <a:latin typeface="Calibri"/>
                  </a:endParaRPr>
                </a:p>
              </p:txBody>
            </p:sp>
            <p:sp>
              <p:nvSpPr>
                <p:cNvPr id="17" name="Freeform: Shape 78">
                  <a:extLst>
                    <a:ext uri="{FF2B5EF4-FFF2-40B4-BE49-F238E27FC236}">
                      <a16:creationId xmlns:a16="http://schemas.microsoft.com/office/drawing/2014/main" id="{8A522AB0-0659-DF09-678A-ED10ADC5E8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41745" y="4351109"/>
                  <a:ext cx="1799394" cy="1794431"/>
                </a:xfrm>
                <a:custGeom>
                  <a:avLst/>
                  <a:gdLst>
                    <a:gd name="connsiteX0" fmla="*/ 325816 w 1799394"/>
                    <a:gd name="connsiteY0" fmla="*/ 1699966 h 1794431"/>
                    <a:gd name="connsiteX1" fmla="*/ 388733 w 1799394"/>
                    <a:gd name="connsiteY1" fmla="*/ 1784014 h 1794431"/>
                    <a:gd name="connsiteX2" fmla="*/ 393681 w 1799394"/>
                    <a:gd name="connsiteY2" fmla="*/ 1790625 h 1794431"/>
                    <a:gd name="connsiteX3" fmla="*/ 387240 w 1799394"/>
                    <a:gd name="connsiteY3" fmla="*/ 1792281 h 1794431"/>
                    <a:gd name="connsiteX4" fmla="*/ 382732 w 1799394"/>
                    <a:gd name="connsiteY4" fmla="*/ 1775999 h 1794431"/>
                    <a:gd name="connsiteX5" fmla="*/ 9081 w 1799394"/>
                    <a:gd name="connsiteY5" fmla="*/ 554706 h 1794431"/>
                    <a:gd name="connsiteX6" fmla="*/ 244 w 1799394"/>
                    <a:gd name="connsiteY6" fmla="*/ 649120 h 1794431"/>
                    <a:gd name="connsiteX7" fmla="*/ 14836 w 1799394"/>
                    <a:gd name="connsiteY7" fmla="*/ 902059 h 1794431"/>
                    <a:gd name="connsiteX8" fmla="*/ 33258 w 1799394"/>
                    <a:gd name="connsiteY8" fmla="*/ 1011574 h 1794431"/>
                    <a:gd name="connsiteX9" fmla="*/ 14836 w 1799394"/>
                    <a:gd name="connsiteY9" fmla="*/ 902059 h 1794431"/>
                    <a:gd name="connsiteX10" fmla="*/ 243 w 1799394"/>
                    <a:gd name="connsiteY10" fmla="*/ 649120 h 1794431"/>
                    <a:gd name="connsiteX11" fmla="*/ 18566 w 1799394"/>
                    <a:gd name="connsiteY11" fmla="*/ 453371 h 1794431"/>
                    <a:gd name="connsiteX12" fmla="*/ 18057 w 1799394"/>
                    <a:gd name="connsiteY12" fmla="*/ 458810 h 1794431"/>
                    <a:gd name="connsiteX13" fmla="*/ 16684 w 1799394"/>
                    <a:gd name="connsiteY13" fmla="*/ 453855 h 1794431"/>
                    <a:gd name="connsiteX14" fmla="*/ 586030 w 1799394"/>
                    <a:gd name="connsiteY14" fmla="*/ 0 h 1794431"/>
                    <a:gd name="connsiteX15" fmla="*/ 780652 w 1799394"/>
                    <a:gd name="connsiteY15" fmla="*/ 30059 h 1794431"/>
                    <a:gd name="connsiteX16" fmla="*/ 1262219 w 1799394"/>
                    <a:gd name="connsiteY16" fmla="*/ 221715 h 1794431"/>
                    <a:gd name="connsiteX17" fmla="*/ 1670524 w 1799394"/>
                    <a:gd name="connsiteY17" fmla="*/ 540973 h 1794431"/>
                    <a:gd name="connsiteX18" fmla="*/ 1794605 w 1799394"/>
                    <a:gd name="connsiteY18" fmla="*/ 693896 h 1794431"/>
                    <a:gd name="connsiteX19" fmla="*/ 1599983 w 1799394"/>
                    <a:gd name="connsiteY19" fmla="*/ 663838 h 1794431"/>
                    <a:gd name="connsiteX20" fmla="*/ 1793808 w 1799394"/>
                    <a:gd name="connsiteY20" fmla="*/ 693773 h 1794431"/>
                    <a:gd name="connsiteX21" fmla="*/ 1799394 w 1799394"/>
                    <a:gd name="connsiteY21" fmla="*/ 696986 h 1794431"/>
                    <a:gd name="connsiteX22" fmla="*/ 1713028 w 1799394"/>
                    <a:gd name="connsiteY22" fmla="*/ 839149 h 1794431"/>
                    <a:gd name="connsiteX23" fmla="*/ 456701 w 1799394"/>
                    <a:gd name="connsiteY23" fmla="*/ 1774420 h 1794431"/>
                    <a:gd name="connsiteX24" fmla="*/ 396966 w 1799394"/>
                    <a:gd name="connsiteY24" fmla="*/ 1789781 h 1794431"/>
                    <a:gd name="connsiteX25" fmla="*/ 414882 w 1799394"/>
                    <a:gd name="connsiteY25" fmla="*/ 1598358 h 1794431"/>
                    <a:gd name="connsiteX26" fmla="*/ 396530 w 1799394"/>
                    <a:gd name="connsiteY26" fmla="*/ 1794431 h 1794431"/>
                    <a:gd name="connsiteX27" fmla="*/ 388883 w 1799394"/>
                    <a:gd name="connsiteY27" fmla="*/ 1784215 h 1794431"/>
                    <a:gd name="connsiteX28" fmla="*/ 396530 w 1799394"/>
                    <a:gd name="connsiteY28" fmla="*/ 1794431 h 1794431"/>
                    <a:gd name="connsiteX29" fmla="*/ 414882 w 1799394"/>
                    <a:gd name="connsiteY29" fmla="*/ 1598358 h 1794431"/>
                    <a:gd name="connsiteX30" fmla="*/ 346558 w 1799394"/>
                    <a:gd name="connsiteY30" fmla="*/ 1084578 h 1794431"/>
                    <a:gd name="connsiteX31" fmla="*/ 136610 w 1799394"/>
                    <a:gd name="connsiteY31" fmla="*/ 610699 h 1794431"/>
                    <a:gd name="connsiteX32" fmla="*/ 45988 w 1799394"/>
                    <a:gd name="connsiteY32" fmla="*/ 489639 h 1794431"/>
                    <a:gd name="connsiteX33" fmla="*/ 18795 w 1799394"/>
                    <a:gd name="connsiteY33" fmla="*/ 453313 h 1794431"/>
                    <a:gd name="connsiteX34" fmla="*/ 43382 w 1799394"/>
                    <a:gd name="connsiteY34" fmla="*/ 446990 h 1794431"/>
                    <a:gd name="connsiteX35" fmla="*/ 560487 w 1799394"/>
                    <a:gd name="connsiteY35" fmla="*/ 62032 h 1794431"/>
                    <a:gd name="connsiteX36" fmla="*/ 592973 w 1799394"/>
                    <a:gd name="connsiteY36" fmla="*/ 8557 h 1794431"/>
                    <a:gd name="connsiteX37" fmla="*/ 710111 w 1799394"/>
                    <a:gd name="connsiteY37" fmla="*/ 152923 h 1794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1799394" h="1794431">
                      <a:moveTo>
                        <a:pt x="325816" y="1699966"/>
                      </a:moveTo>
                      <a:lnTo>
                        <a:pt x="388733" y="1784014"/>
                      </a:lnTo>
                      <a:lnTo>
                        <a:pt x="393681" y="1790625"/>
                      </a:lnTo>
                      <a:lnTo>
                        <a:pt x="387240" y="1792281"/>
                      </a:lnTo>
                      <a:lnTo>
                        <a:pt x="382732" y="1775999"/>
                      </a:lnTo>
                      <a:close/>
                      <a:moveTo>
                        <a:pt x="9081" y="554706"/>
                      </a:moveTo>
                      <a:lnTo>
                        <a:pt x="244" y="649120"/>
                      </a:lnTo>
                      <a:cubicBezTo>
                        <a:pt x="-1173" y="731436"/>
                        <a:pt x="3570" y="816088"/>
                        <a:pt x="14836" y="902059"/>
                      </a:cubicBezTo>
                      <a:lnTo>
                        <a:pt x="33258" y="1011574"/>
                      </a:lnTo>
                      <a:lnTo>
                        <a:pt x="14836" y="902059"/>
                      </a:lnTo>
                      <a:cubicBezTo>
                        <a:pt x="3570" y="816089"/>
                        <a:pt x="-1174" y="731436"/>
                        <a:pt x="243" y="649120"/>
                      </a:cubicBezTo>
                      <a:close/>
                      <a:moveTo>
                        <a:pt x="18566" y="453371"/>
                      </a:moveTo>
                      <a:lnTo>
                        <a:pt x="18057" y="458810"/>
                      </a:lnTo>
                      <a:lnTo>
                        <a:pt x="16684" y="453855"/>
                      </a:lnTo>
                      <a:close/>
                      <a:moveTo>
                        <a:pt x="586030" y="0"/>
                      </a:moveTo>
                      <a:lnTo>
                        <a:pt x="780652" y="30059"/>
                      </a:lnTo>
                      <a:cubicBezTo>
                        <a:pt x="940996" y="67493"/>
                        <a:pt x="1104394" y="131100"/>
                        <a:pt x="1262219" y="221715"/>
                      </a:cubicBezTo>
                      <a:cubicBezTo>
                        <a:pt x="1420045" y="312330"/>
                        <a:pt x="1557356" y="421373"/>
                        <a:pt x="1670524" y="540973"/>
                      </a:cubicBezTo>
                      <a:lnTo>
                        <a:pt x="1794605" y="693896"/>
                      </a:lnTo>
                      <a:lnTo>
                        <a:pt x="1599983" y="663838"/>
                      </a:lnTo>
                      <a:lnTo>
                        <a:pt x="1793808" y="693773"/>
                      </a:lnTo>
                      <a:lnTo>
                        <a:pt x="1799394" y="696986"/>
                      </a:lnTo>
                      <a:lnTo>
                        <a:pt x="1713028" y="839149"/>
                      </a:lnTo>
                      <a:cubicBezTo>
                        <a:pt x="1415875" y="1278993"/>
                        <a:pt x="974473" y="1613376"/>
                        <a:pt x="456701" y="1774420"/>
                      </a:cubicBezTo>
                      <a:lnTo>
                        <a:pt x="396966" y="1789781"/>
                      </a:lnTo>
                      <a:lnTo>
                        <a:pt x="414882" y="1598358"/>
                      </a:lnTo>
                      <a:lnTo>
                        <a:pt x="396530" y="1794431"/>
                      </a:lnTo>
                      <a:lnTo>
                        <a:pt x="388883" y="1784215"/>
                      </a:lnTo>
                      <a:lnTo>
                        <a:pt x="396530" y="1794431"/>
                      </a:lnTo>
                      <a:lnTo>
                        <a:pt x="414882" y="1598358"/>
                      </a:lnTo>
                      <a:cubicBezTo>
                        <a:pt x="417715" y="1433728"/>
                        <a:pt x="395911" y="1259747"/>
                        <a:pt x="346558" y="1084578"/>
                      </a:cubicBezTo>
                      <a:cubicBezTo>
                        <a:pt x="297204" y="909408"/>
                        <a:pt x="224972" y="749636"/>
                        <a:pt x="136610" y="610699"/>
                      </a:cubicBezTo>
                      <a:lnTo>
                        <a:pt x="45988" y="489639"/>
                      </a:lnTo>
                      <a:lnTo>
                        <a:pt x="18795" y="453313"/>
                      </a:lnTo>
                      <a:lnTo>
                        <a:pt x="43382" y="446990"/>
                      </a:lnTo>
                      <a:cubicBezTo>
                        <a:pt x="256498" y="380705"/>
                        <a:pt x="438179" y="243073"/>
                        <a:pt x="560487" y="62032"/>
                      </a:cubicBezTo>
                      <a:lnTo>
                        <a:pt x="592973" y="8557"/>
                      </a:lnTo>
                      <a:lnTo>
                        <a:pt x="710111" y="152923"/>
                      </a:lnTo>
                      <a:close/>
                    </a:path>
                  </a:pathLst>
                </a:custGeom>
                <a:solidFill>
                  <a:srgbClr val="3FBE80"/>
                </a:solidFill>
                <a:ln>
                  <a:noFill/>
                </a:ln>
              </p:spPr>
              <p:txBody>
                <a:bodyPr vert="horz" wrap="square" lIns="91439" tIns="45719" rIns="91439" bIns="4571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863949"/>
                  <a:endParaRPr lang="en-US">
                    <a:solidFill>
                      <a:srgbClr val="555C6B"/>
                    </a:solidFill>
                    <a:latin typeface="Calibri"/>
                  </a:endParaRPr>
                </a:p>
              </p:txBody>
            </p:sp>
            <p:sp>
              <p:nvSpPr>
                <p:cNvPr id="18" name="Freeform: Shape 79">
                  <a:extLst>
                    <a:ext uri="{FF2B5EF4-FFF2-40B4-BE49-F238E27FC236}">
                      <a16:creationId xmlns:a16="http://schemas.microsoft.com/office/drawing/2014/main" id="{2778718F-972F-96D1-7BE2-29578B57F3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38048" y="4565924"/>
                  <a:ext cx="1807047" cy="1665804"/>
                </a:xfrm>
                <a:custGeom>
                  <a:avLst/>
                  <a:gdLst>
                    <a:gd name="connsiteX0" fmla="*/ 77928 w 1807047"/>
                    <a:gd name="connsiteY0" fmla="*/ 818346 h 1665804"/>
                    <a:gd name="connsiteX1" fmla="*/ 1 w 1807047"/>
                    <a:gd name="connsiteY1" fmla="*/ 999201 h 1665804"/>
                    <a:gd name="connsiteX2" fmla="*/ 0 w 1807047"/>
                    <a:gd name="connsiteY2" fmla="*/ 999201 h 1665804"/>
                    <a:gd name="connsiteX3" fmla="*/ 897005 w 1807047"/>
                    <a:gd name="connsiteY3" fmla="*/ 184240 h 1665804"/>
                    <a:gd name="connsiteX4" fmla="*/ 590654 w 1807047"/>
                    <a:gd name="connsiteY4" fmla="*/ 602316 h 1665804"/>
                    <a:gd name="connsiteX5" fmla="*/ 179163 w 1807047"/>
                    <a:gd name="connsiteY5" fmla="*/ 917458 h 1665804"/>
                    <a:gd name="connsiteX6" fmla="*/ 590654 w 1807047"/>
                    <a:gd name="connsiteY6" fmla="*/ 602316 h 1665804"/>
                    <a:gd name="connsiteX7" fmla="*/ 897005 w 1807047"/>
                    <a:gd name="connsiteY7" fmla="*/ 184240 h 1665804"/>
                    <a:gd name="connsiteX8" fmla="*/ 974934 w 1807047"/>
                    <a:gd name="connsiteY8" fmla="*/ 3386 h 1665804"/>
                    <a:gd name="connsiteX9" fmla="*/ 897005 w 1807047"/>
                    <a:gd name="connsiteY9" fmla="*/ 184240 h 1665804"/>
                    <a:gd name="connsiteX10" fmla="*/ 974933 w 1807047"/>
                    <a:gd name="connsiteY10" fmla="*/ 3387 h 1665804"/>
                    <a:gd name="connsiteX11" fmla="*/ 981219 w 1807047"/>
                    <a:gd name="connsiteY11" fmla="*/ 0 h 1665804"/>
                    <a:gd name="connsiteX12" fmla="*/ 1114341 w 1807047"/>
                    <a:gd name="connsiteY12" fmla="*/ 109836 h 1665804"/>
                    <a:gd name="connsiteX13" fmla="*/ 1509884 w 1807047"/>
                    <a:gd name="connsiteY13" fmla="*/ 264683 h 1665804"/>
                    <a:gd name="connsiteX14" fmla="*/ 1657897 w 1807047"/>
                    <a:gd name="connsiteY14" fmla="*/ 275882 h 1665804"/>
                    <a:gd name="connsiteX15" fmla="*/ 1660958 w 1807047"/>
                    <a:gd name="connsiteY15" fmla="*/ 267884 h 1665804"/>
                    <a:gd name="connsiteX16" fmla="*/ 1732237 w 1807047"/>
                    <a:gd name="connsiteY16" fmla="*/ 451461 h 1665804"/>
                    <a:gd name="connsiteX17" fmla="*/ 1807042 w 1807047"/>
                    <a:gd name="connsiteY17" fmla="*/ 964338 h 1665804"/>
                    <a:gd name="connsiteX18" fmla="*/ 1734709 w 1807047"/>
                    <a:gd name="connsiteY18" fmla="*/ 1477570 h 1665804"/>
                    <a:gd name="connsiteX19" fmla="*/ 1664314 w 1807047"/>
                    <a:gd name="connsiteY19" fmla="*/ 1661488 h 1665804"/>
                    <a:gd name="connsiteX20" fmla="*/ 1662716 w 1807047"/>
                    <a:gd name="connsiteY20" fmla="*/ 1657373 h 1665804"/>
                    <a:gd name="connsiteX21" fmla="*/ 1662716 w 1807047"/>
                    <a:gd name="connsiteY21" fmla="*/ 1665564 h 1665804"/>
                    <a:gd name="connsiteX22" fmla="*/ 1657953 w 1807047"/>
                    <a:gd name="connsiteY22" fmla="*/ 1665804 h 1665804"/>
                    <a:gd name="connsiteX23" fmla="*/ 155375 w 1807047"/>
                    <a:gd name="connsiteY23" fmla="*/ 1126393 h 1665804"/>
                    <a:gd name="connsiteX24" fmla="*/ 10273 w 1807047"/>
                    <a:gd name="connsiteY24" fmla="*/ 994515 h 1665804"/>
                    <a:gd name="connsiteX25" fmla="*/ 179164 w 1807047"/>
                    <a:gd name="connsiteY25" fmla="*/ 917458 h 1665804"/>
                    <a:gd name="connsiteX26" fmla="*/ 590655 w 1807047"/>
                    <a:gd name="connsiteY26" fmla="*/ 602316 h 1665804"/>
                    <a:gd name="connsiteX27" fmla="*/ 897006 w 1807047"/>
                    <a:gd name="connsiteY27" fmla="*/ 184240 h 1665804"/>
                    <a:gd name="connsiteX28" fmla="*/ 972643 w 1807047"/>
                    <a:gd name="connsiteY28" fmla="*/ 8704 h 16658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1807047" h="1665804">
                      <a:moveTo>
                        <a:pt x="77928" y="818346"/>
                      </a:moveTo>
                      <a:lnTo>
                        <a:pt x="1" y="999201"/>
                      </a:lnTo>
                      <a:lnTo>
                        <a:pt x="0" y="999201"/>
                      </a:lnTo>
                      <a:close/>
                      <a:moveTo>
                        <a:pt x="897005" y="184240"/>
                      </a:moveTo>
                      <a:cubicBezTo>
                        <a:pt x="820538" y="330062"/>
                        <a:pt x="717969" y="472274"/>
                        <a:pt x="590654" y="602316"/>
                      </a:cubicBezTo>
                      <a:cubicBezTo>
                        <a:pt x="463339" y="732358"/>
                        <a:pt x="323332" y="837918"/>
                        <a:pt x="179163" y="917458"/>
                      </a:cubicBezTo>
                      <a:cubicBezTo>
                        <a:pt x="323332" y="837918"/>
                        <a:pt x="463339" y="732358"/>
                        <a:pt x="590654" y="602316"/>
                      </a:cubicBezTo>
                      <a:cubicBezTo>
                        <a:pt x="717969" y="472274"/>
                        <a:pt x="820538" y="330062"/>
                        <a:pt x="897005" y="184240"/>
                      </a:cubicBezTo>
                      <a:close/>
                      <a:moveTo>
                        <a:pt x="974934" y="3386"/>
                      </a:moveTo>
                      <a:lnTo>
                        <a:pt x="897005" y="184240"/>
                      </a:lnTo>
                      <a:lnTo>
                        <a:pt x="974933" y="3387"/>
                      </a:lnTo>
                      <a:close/>
                      <a:moveTo>
                        <a:pt x="981219" y="0"/>
                      </a:moveTo>
                      <a:lnTo>
                        <a:pt x="1114341" y="109836"/>
                      </a:lnTo>
                      <a:cubicBezTo>
                        <a:pt x="1230724" y="188463"/>
                        <a:pt x="1365046" y="242553"/>
                        <a:pt x="1509884" y="264683"/>
                      </a:cubicBezTo>
                      <a:lnTo>
                        <a:pt x="1657897" y="275882"/>
                      </a:lnTo>
                      <a:lnTo>
                        <a:pt x="1660958" y="267884"/>
                      </a:lnTo>
                      <a:lnTo>
                        <a:pt x="1732237" y="451461"/>
                      </a:lnTo>
                      <a:cubicBezTo>
                        <a:pt x="1779990" y="609040"/>
                        <a:pt x="1806604" y="782350"/>
                        <a:pt x="1807042" y="964338"/>
                      </a:cubicBezTo>
                      <a:cubicBezTo>
                        <a:pt x="1807480" y="1146327"/>
                        <a:pt x="1781702" y="1319764"/>
                        <a:pt x="1734709" y="1477570"/>
                      </a:cubicBezTo>
                      <a:lnTo>
                        <a:pt x="1664314" y="1661488"/>
                      </a:lnTo>
                      <a:lnTo>
                        <a:pt x="1662716" y="1657373"/>
                      </a:lnTo>
                      <a:lnTo>
                        <a:pt x="1662716" y="1665564"/>
                      </a:lnTo>
                      <a:lnTo>
                        <a:pt x="1657953" y="1665804"/>
                      </a:lnTo>
                      <a:cubicBezTo>
                        <a:pt x="1087188" y="1665804"/>
                        <a:pt x="563702" y="1463374"/>
                        <a:pt x="155375" y="1126393"/>
                      </a:cubicBezTo>
                      <a:lnTo>
                        <a:pt x="10273" y="994515"/>
                      </a:lnTo>
                      <a:lnTo>
                        <a:pt x="179164" y="917458"/>
                      </a:lnTo>
                      <a:cubicBezTo>
                        <a:pt x="323333" y="837918"/>
                        <a:pt x="463340" y="732358"/>
                        <a:pt x="590655" y="602316"/>
                      </a:cubicBezTo>
                      <a:cubicBezTo>
                        <a:pt x="717970" y="472274"/>
                        <a:pt x="820539" y="330062"/>
                        <a:pt x="897006" y="184240"/>
                      </a:cubicBezTo>
                      <a:lnTo>
                        <a:pt x="972643" y="8704"/>
                      </a:lnTo>
                      <a:close/>
                    </a:path>
                  </a:pathLst>
                </a:custGeom>
                <a:solidFill>
                  <a:srgbClr val="3FBE80"/>
                </a:solidFill>
                <a:ln>
                  <a:noFill/>
                </a:ln>
              </p:spPr>
              <p:txBody>
                <a:bodyPr vert="horz" wrap="square" lIns="91439" tIns="45719" rIns="91439" bIns="4571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863949"/>
                  <a:endParaRPr lang="en-US">
                    <a:solidFill>
                      <a:srgbClr val="555C6B"/>
                    </a:solidFill>
                    <a:latin typeface="Calibri"/>
                  </a:endParaRPr>
                </a:p>
              </p:txBody>
            </p:sp>
            <p:sp>
              <p:nvSpPr>
                <p:cNvPr id="19" name="Freeform: Shape 80">
                  <a:extLst>
                    <a:ext uri="{FF2B5EF4-FFF2-40B4-BE49-F238E27FC236}">
                      <a16:creationId xmlns:a16="http://schemas.microsoft.com/office/drawing/2014/main" id="{37ACF547-4D84-CBF9-03F1-BDAD84AC58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33800" y="3260787"/>
                  <a:ext cx="1525378" cy="1793688"/>
                </a:xfrm>
                <a:custGeom>
                  <a:avLst/>
                  <a:gdLst>
                    <a:gd name="connsiteX0" fmla="*/ 781896 w 1525378"/>
                    <a:gd name="connsiteY0" fmla="*/ 56630 h 1793688"/>
                    <a:gd name="connsiteX1" fmla="*/ 781949 w 1525378"/>
                    <a:gd name="connsiteY1" fmla="*/ 56640 h 1793688"/>
                    <a:gd name="connsiteX2" fmla="*/ 1261058 w 1525378"/>
                    <a:gd name="connsiteY2" fmla="*/ 254360 h 1793688"/>
                    <a:gd name="connsiteX3" fmla="*/ 1421686 w 1525378"/>
                    <a:gd name="connsiteY3" fmla="*/ 368290 h 1793688"/>
                    <a:gd name="connsiteX4" fmla="*/ 1421685 w 1525378"/>
                    <a:gd name="connsiteY4" fmla="*/ 368290 h 1793688"/>
                    <a:gd name="connsiteX5" fmla="*/ 1261058 w 1525378"/>
                    <a:gd name="connsiteY5" fmla="*/ 254361 h 1793688"/>
                    <a:gd name="connsiteX6" fmla="*/ 781949 w 1525378"/>
                    <a:gd name="connsiteY6" fmla="*/ 56641 h 1793688"/>
                    <a:gd name="connsiteX7" fmla="*/ 74986 w 1525378"/>
                    <a:gd name="connsiteY7" fmla="*/ 27694 h 1793688"/>
                    <a:gd name="connsiteX8" fmla="*/ 231675 w 1525378"/>
                    <a:gd name="connsiteY8" fmla="*/ 138829 h 1793688"/>
                    <a:gd name="connsiteX9" fmla="*/ 710784 w 1525378"/>
                    <a:gd name="connsiteY9" fmla="*/ 336549 h 1793688"/>
                    <a:gd name="connsiteX10" fmla="*/ 1226149 w 1525378"/>
                    <a:gd name="connsiteY10" fmla="*/ 391668 h 1793688"/>
                    <a:gd name="connsiteX11" fmla="*/ 1418696 w 1525378"/>
                    <a:gd name="connsiteY11" fmla="*/ 368649 h 1793688"/>
                    <a:gd name="connsiteX12" fmla="*/ 1420877 w 1525378"/>
                    <a:gd name="connsiteY12" fmla="*/ 369212 h 1793688"/>
                    <a:gd name="connsiteX13" fmla="*/ 1409672 w 1525378"/>
                    <a:gd name="connsiteY13" fmla="*/ 412792 h 1793688"/>
                    <a:gd name="connsiteX14" fmla="*/ 1389918 w 1525378"/>
                    <a:gd name="connsiteY14" fmla="*/ 608741 h 1793688"/>
                    <a:gd name="connsiteX15" fmla="*/ 1466325 w 1525378"/>
                    <a:gd name="connsiteY15" fmla="*/ 987197 h 1793688"/>
                    <a:gd name="connsiteX16" fmla="*/ 1525378 w 1525378"/>
                    <a:gd name="connsiteY16" fmla="*/ 1095994 h 1793688"/>
                    <a:gd name="connsiteX17" fmla="*/ 1522548 w 1525378"/>
                    <a:gd name="connsiteY17" fmla="*/ 1097617 h 1793688"/>
                    <a:gd name="connsiteX18" fmla="*/ 1523308 w 1525378"/>
                    <a:gd name="connsiteY18" fmla="*/ 1096675 h 1793688"/>
                    <a:gd name="connsiteX19" fmla="*/ 1399623 w 1525378"/>
                    <a:gd name="connsiteY19" fmla="*/ 1249917 h 1793688"/>
                    <a:gd name="connsiteX20" fmla="*/ 992144 w 1525378"/>
                    <a:gd name="connsiteY20" fmla="*/ 1570228 h 1793688"/>
                    <a:gd name="connsiteX21" fmla="*/ 511073 w 1525378"/>
                    <a:gd name="connsiteY21" fmla="*/ 1763127 h 1793688"/>
                    <a:gd name="connsiteX22" fmla="*/ 316530 w 1525378"/>
                    <a:gd name="connsiteY22" fmla="*/ 1793688 h 1793688"/>
                    <a:gd name="connsiteX23" fmla="*/ 323513 w 1525378"/>
                    <a:gd name="connsiteY23" fmla="*/ 1785037 h 1793688"/>
                    <a:gd name="connsiteX24" fmla="*/ 317704 w 1525378"/>
                    <a:gd name="connsiteY24" fmla="*/ 1788366 h 1793688"/>
                    <a:gd name="connsiteX25" fmla="*/ 285105 w 1525378"/>
                    <a:gd name="connsiteY25" fmla="*/ 1734706 h 1793688"/>
                    <a:gd name="connsiteX26" fmla="*/ 0 w 1525378"/>
                    <a:gd name="connsiteY26" fmla="*/ 608741 h 1793688"/>
                    <a:gd name="connsiteX27" fmla="*/ 47992 w 1525378"/>
                    <a:gd name="connsiteY27" fmla="*/ 132675 h 1793688"/>
                    <a:gd name="connsiteX28" fmla="*/ 562877 w 1525378"/>
                    <a:gd name="connsiteY28" fmla="*/ 15732 h 1793688"/>
                    <a:gd name="connsiteX29" fmla="*/ 584750 w 1525378"/>
                    <a:gd name="connsiteY29" fmla="*/ 17633 h 1793688"/>
                    <a:gd name="connsiteX30" fmla="*/ 606283 w 1525378"/>
                    <a:gd name="connsiteY30" fmla="*/ 21893 h 1793688"/>
                    <a:gd name="connsiteX31" fmla="*/ 391707 w 1525378"/>
                    <a:gd name="connsiteY31" fmla="*/ 851 h 1793688"/>
                    <a:gd name="connsiteX32" fmla="*/ 391748 w 1525378"/>
                    <a:gd name="connsiteY32" fmla="*/ 855 h 1793688"/>
                    <a:gd name="connsiteX33" fmla="*/ 391707 w 1525378"/>
                    <a:gd name="connsiteY33" fmla="*/ 852 h 1793688"/>
                    <a:gd name="connsiteX34" fmla="*/ 266585 w 1525378"/>
                    <a:gd name="connsiteY34" fmla="*/ 1522 h 1793688"/>
                    <a:gd name="connsiteX35" fmla="*/ 71048 w 1525378"/>
                    <a:gd name="connsiteY35" fmla="*/ 24900 h 1793688"/>
                    <a:gd name="connsiteX36" fmla="*/ 71047 w 1525378"/>
                    <a:gd name="connsiteY36" fmla="*/ 24899 h 1793688"/>
                    <a:gd name="connsiteX37" fmla="*/ 79100 w 1525378"/>
                    <a:gd name="connsiteY37" fmla="*/ 23936 h 1793688"/>
                    <a:gd name="connsiteX38" fmla="*/ 75852 w 1525378"/>
                    <a:gd name="connsiteY38" fmla="*/ 24324 h 1793688"/>
                    <a:gd name="connsiteX39" fmla="*/ 76434 w 1525378"/>
                    <a:gd name="connsiteY39" fmla="*/ 22059 h 1793688"/>
                    <a:gd name="connsiteX40" fmla="*/ 82247 w 1525378"/>
                    <a:gd name="connsiteY40" fmla="*/ 23560 h 1793688"/>
                    <a:gd name="connsiteX41" fmla="*/ 266585 w 1525378"/>
                    <a:gd name="connsiteY41" fmla="*/ 1521 h 1793688"/>
                    <a:gd name="connsiteX42" fmla="*/ 391707 w 1525378"/>
                    <a:gd name="connsiteY42" fmla="*/ 851 h 1793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</a:cxnLst>
                  <a:rect l="l" t="t" r="r" b="b"/>
                  <a:pathLst>
                    <a:path w="1525378" h="1793688">
                      <a:moveTo>
                        <a:pt x="781896" y="56630"/>
                      </a:moveTo>
                      <a:lnTo>
                        <a:pt x="781949" y="56640"/>
                      </a:lnTo>
                      <a:cubicBezTo>
                        <a:pt x="958327" y="101483"/>
                        <a:pt x="1119900" y="169592"/>
                        <a:pt x="1261058" y="254360"/>
                      </a:cubicBezTo>
                      <a:lnTo>
                        <a:pt x="1421686" y="368290"/>
                      </a:lnTo>
                      <a:lnTo>
                        <a:pt x="1421685" y="368290"/>
                      </a:lnTo>
                      <a:lnTo>
                        <a:pt x="1261058" y="254361"/>
                      </a:lnTo>
                      <a:cubicBezTo>
                        <a:pt x="1119900" y="169593"/>
                        <a:pt x="958327" y="101484"/>
                        <a:pt x="781949" y="56641"/>
                      </a:cubicBezTo>
                      <a:close/>
                      <a:moveTo>
                        <a:pt x="74986" y="27694"/>
                      </a:moveTo>
                      <a:lnTo>
                        <a:pt x="231675" y="138829"/>
                      </a:lnTo>
                      <a:cubicBezTo>
                        <a:pt x="372833" y="223598"/>
                        <a:pt x="534407" y="291706"/>
                        <a:pt x="710784" y="336549"/>
                      </a:cubicBezTo>
                      <a:cubicBezTo>
                        <a:pt x="887162" y="381392"/>
                        <a:pt x="1061645" y="398724"/>
                        <a:pt x="1226149" y="391668"/>
                      </a:cubicBezTo>
                      <a:lnTo>
                        <a:pt x="1418696" y="368649"/>
                      </a:lnTo>
                      <a:lnTo>
                        <a:pt x="1420877" y="369212"/>
                      </a:lnTo>
                      <a:lnTo>
                        <a:pt x="1409672" y="412792"/>
                      </a:lnTo>
                      <a:cubicBezTo>
                        <a:pt x="1396720" y="476086"/>
                        <a:pt x="1389918" y="541619"/>
                        <a:pt x="1389918" y="608741"/>
                      </a:cubicBezTo>
                      <a:cubicBezTo>
                        <a:pt x="1389918" y="742985"/>
                        <a:pt x="1417125" y="870875"/>
                        <a:pt x="1466325" y="987197"/>
                      </a:cubicBezTo>
                      <a:lnTo>
                        <a:pt x="1525378" y="1095994"/>
                      </a:lnTo>
                      <a:lnTo>
                        <a:pt x="1522548" y="1097617"/>
                      </a:lnTo>
                      <a:lnTo>
                        <a:pt x="1523308" y="1096675"/>
                      </a:lnTo>
                      <a:lnTo>
                        <a:pt x="1399623" y="1249917"/>
                      </a:lnTo>
                      <a:cubicBezTo>
                        <a:pt x="1286764" y="1369809"/>
                        <a:pt x="1149735" y="1479207"/>
                        <a:pt x="992144" y="1570228"/>
                      </a:cubicBezTo>
                      <a:cubicBezTo>
                        <a:pt x="834552" y="1661250"/>
                        <a:pt x="671319" y="1725279"/>
                        <a:pt x="511073" y="1763127"/>
                      </a:cubicBezTo>
                      <a:lnTo>
                        <a:pt x="316530" y="1793688"/>
                      </a:lnTo>
                      <a:lnTo>
                        <a:pt x="323513" y="1785037"/>
                      </a:lnTo>
                      <a:lnTo>
                        <a:pt x="317704" y="1788366"/>
                      </a:lnTo>
                      <a:lnTo>
                        <a:pt x="285105" y="1734706"/>
                      </a:lnTo>
                      <a:cubicBezTo>
                        <a:pt x="103281" y="1399998"/>
                        <a:pt x="0" y="1016431"/>
                        <a:pt x="0" y="608741"/>
                      </a:cubicBezTo>
                      <a:cubicBezTo>
                        <a:pt x="0" y="445665"/>
                        <a:pt x="16525" y="286449"/>
                        <a:pt x="47992" y="132675"/>
                      </a:cubicBezTo>
                      <a:close/>
                      <a:moveTo>
                        <a:pt x="562877" y="15732"/>
                      </a:moveTo>
                      <a:lnTo>
                        <a:pt x="584750" y="17633"/>
                      </a:lnTo>
                      <a:lnTo>
                        <a:pt x="606283" y="21893"/>
                      </a:lnTo>
                      <a:close/>
                      <a:moveTo>
                        <a:pt x="391707" y="851"/>
                      </a:moveTo>
                      <a:lnTo>
                        <a:pt x="391748" y="855"/>
                      </a:lnTo>
                      <a:lnTo>
                        <a:pt x="391707" y="852"/>
                      </a:lnTo>
                      <a:cubicBezTo>
                        <a:pt x="349460" y="-482"/>
                        <a:pt x="307711" y="-242"/>
                        <a:pt x="266585" y="1522"/>
                      </a:cubicBezTo>
                      <a:lnTo>
                        <a:pt x="71048" y="24900"/>
                      </a:lnTo>
                      <a:lnTo>
                        <a:pt x="71047" y="24899"/>
                      </a:lnTo>
                      <a:lnTo>
                        <a:pt x="79100" y="23936"/>
                      </a:lnTo>
                      <a:lnTo>
                        <a:pt x="75852" y="24324"/>
                      </a:lnTo>
                      <a:lnTo>
                        <a:pt x="76434" y="22059"/>
                      </a:lnTo>
                      <a:lnTo>
                        <a:pt x="82247" y="23560"/>
                      </a:lnTo>
                      <a:lnTo>
                        <a:pt x="266585" y="1521"/>
                      </a:lnTo>
                      <a:cubicBezTo>
                        <a:pt x="307711" y="-243"/>
                        <a:pt x="349460" y="-483"/>
                        <a:pt x="391707" y="851"/>
                      </a:cubicBezTo>
                      <a:close/>
                    </a:path>
                  </a:pathLst>
                </a:custGeom>
                <a:solidFill>
                  <a:srgbClr val="3FBE80"/>
                </a:solidFill>
                <a:ln>
                  <a:noFill/>
                </a:ln>
              </p:spPr>
              <p:txBody>
                <a:bodyPr vert="horz" wrap="square" lIns="91439" tIns="45719" rIns="91439" bIns="4571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863949"/>
                  <a:endParaRPr lang="en-US">
                    <a:solidFill>
                      <a:srgbClr val="555C6B"/>
                    </a:solidFill>
                    <a:latin typeface="Calibri"/>
                  </a:endParaRPr>
                </a:p>
              </p:txBody>
            </p:sp>
            <p:sp>
              <p:nvSpPr>
                <p:cNvPr id="20" name="Freeform: Shape 81">
                  <a:extLst>
                    <a:ext uri="{FF2B5EF4-FFF2-40B4-BE49-F238E27FC236}">
                      <a16:creationId xmlns:a16="http://schemas.microsoft.com/office/drawing/2014/main" id="{9EE9B6F8-DA7B-B644-2A8D-8E638351F8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50387" y="1590218"/>
                  <a:ext cx="1812923" cy="1797712"/>
                </a:xfrm>
                <a:custGeom>
                  <a:avLst/>
                  <a:gdLst>
                    <a:gd name="connsiteX0" fmla="*/ 963561 w 1812923"/>
                    <a:gd name="connsiteY0" fmla="*/ 1529207 h 1797712"/>
                    <a:gd name="connsiteX1" fmla="*/ 996662 w 1812923"/>
                    <a:gd name="connsiteY1" fmla="*/ 1557192 h 1797712"/>
                    <a:gd name="connsiteX2" fmla="*/ 1025602 w 1812923"/>
                    <a:gd name="connsiteY2" fmla="*/ 1585565 h 1797712"/>
                    <a:gd name="connsiteX3" fmla="*/ 996662 w 1812923"/>
                    <a:gd name="connsiteY3" fmla="*/ 1557191 h 1797712"/>
                    <a:gd name="connsiteX4" fmla="*/ 437863 w 1812923"/>
                    <a:gd name="connsiteY4" fmla="*/ 1209760 h 1797712"/>
                    <a:gd name="connsiteX5" fmla="*/ 558423 w 1812923"/>
                    <a:gd name="connsiteY5" fmla="*/ 1262621 h 1797712"/>
                    <a:gd name="connsiteX6" fmla="*/ 677703 w 1812923"/>
                    <a:gd name="connsiteY6" fmla="*/ 1325531 h 1797712"/>
                    <a:gd name="connsiteX7" fmla="*/ 437864 w 1812923"/>
                    <a:gd name="connsiteY7" fmla="*/ 1209760 h 1797712"/>
                    <a:gd name="connsiteX8" fmla="*/ 1416393 w 1812923"/>
                    <a:gd name="connsiteY8" fmla="*/ 0 h 1797712"/>
                    <a:gd name="connsiteX9" fmla="*/ 1534408 w 1812923"/>
                    <a:gd name="connsiteY9" fmla="*/ 157652 h 1797712"/>
                    <a:gd name="connsiteX10" fmla="*/ 1744356 w 1812923"/>
                    <a:gd name="connsiteY10" fmla="*/ 631530 h 1797712"/>
                    <a:gd name="connsiteX11" fmla="*/ 1812680 w 1812923"/>
                    <a:gd name="connsiteY11" fmla="*/ 1145311 h 1797712"/>
                    <a:gd name="connsiteX12" fmla="*/ 1794327 w 1812923"/>
                    <a:gd name="connsiteY12" fmla="*/ 1341384 h 1797712"/>
                    <a:gd name="connsiteX13" fmla="*/ 1783087 w 1812923"/>
                    <a:gd name="connsiteY13" fmla="*/ 1326369 h 1797712"/>
                    <a:gd name="connsiteX14" fmla="*/ 1787652 w 1812923"/>
                    <a:gd name="connsiteY14" fmla="*/ 1342726 h 1797712"/>
                    <a:gd name="connsiteX15" fmla="*/ 1756486 w 1812923"/>
                    <a:gd name="connsiteY15" fmla="*/ 1350740 h 1797712"/>
                    <a:gd name="connsiteX16" fmla="*/ 1239382 w 1812923"/>
                    <a:gd name="connsiteY16" fmla="*/ 1735698 h 1797712"/>
                    <a:gd name="connsiteX17" fmla="*/ 1205296 w 1812923"/>
                    <a:gd name="connsiteY17" fmla="*/ 1791806 h 1797712"/>
                    <a:gd name="connsiteX18" fmla="*/ 1086008 w 1812923"/>
                    <a:gd name="connsiteY18" fmla="*/ 1644789 h 1797712"/>
                    <a:gd name="connsiteX19" fmla="*/ 1210088 w 1812923"/>
                    <a:gd name="connsiteY19" fmla="*/ 1797712 h 1797712"/>
                    <a:gd name="connsiteX20" fmla="*/ 1015466 w 1812923"/>
                    <a:gd name="connsiteY20" fmla="*/ 1767654 h 1797712"/>
                    <a:gd name="connsiteX21" fmla="*/ 533899 w 1812923"/>
                    <a:gd name="connsiteY21" fmla="*/ 1575997 h 1797712"/>
                    <a:gd name="connsiteX22" fmla="*/ 125594 w 1812923"/>
                    <a:gd name="connsiteY22" fmla="*/ 1256739 h 1797712"/>
                    <a:gd name="connsiteX23" fmla="*/ 1513 w 1812923"/>
                    <a:gd name="connsiteY23" fmla="*/ 1103817 h 1797712"/>
                    <a:gd name="connsiteX24" fmla="*/ 4874 w 1812923"/>
                    <a:gd name="connsiteY24" fmla="*/ 1104336 h 1797712"/>
                    <a:gd name="connsiteX25" fmla="*/ 0 w 1812923"/>
                    <a:gd name="connsiteY25" fmla="*/ 1101525 h 1797712"/>
                    <a:gd name="connsiteX26" fmla="*/ 86840 w 1812923"/>
                    <a:gd name="connsiteY26" fmla="*/ 958582 h 1797712"/>
                    <a:gd name="connsiteX27" fmla="*/ 1343167 w 1812923"/>
                    <a:gd name="connsiteY27" fmla="*/ 23310 h 1797712"/>
                    <a:gd name="connsiteX28" fmla="*/ 1414306 w 1812923"/>
                    <a:gd name="connsiteY28" fmla="*/ 5018 h 1797712"/>
                    <a:gd name="connsiteX29" fmla="*/ 1415517 w 1812923"/>
                    <a:gd name="connsiteY29" fmla="*/ 9358 h 1797712"/>
                    <a:gd name="connsiteX30" fmla="*/ 1414481 w 1812923"/>
                    <a:gd name="connsiteY30" fmla="*/ 20434 h 1797712"/>
                    <a:gd name="connsiteX31" fmla="*/ 1398042 w 1812923"/>
                    <a:gd name="connsiteY31" fmla="*/ 196073 h 1797712"/>
                    <a:gd name="connsiteX32" fmla="*/ 1466366 w 1812923"/>
                    <a:gd name="connsiteY32" fmla="*/ 709854 h 1797712"/>
                    <a:gd name="connsiteX33" fmla="*/ 1676314 w 1812923"/>
                    <a:gd name="connsiteY33" fmla="*/ 1183732 h 1797712"/>
                    <a:gd name="connsiteX34" fmla="*/ 1794327 w 1812923"/>
                    <a:gd name="connsiteY34" fmla="*/ 1341384 h 1797712"/>
                    <a:gd name="connsiteX35" fmla="*/ 1812680 w 1812923"/>
                    <a:gd name="connsiteY35" fmla="*/ 1145311 h 1797712"/>
                    <a:gd name="connsiteX36" fmla="*/ 1744356 w 1812923"/>
                    <a:gd name="connsiteY36" fmla="*/ 631530 h 1797712"/>
                    <a:gd name="connsiteX37" fmla="*/ 1534408 w 1812923"/>
                    <a:gd name="connsiteY37" fmla="*/ 157652 h 1797712"/>
                    <a:gd name="connsiteX38" fmla="*/ 1416393 w 1812923"/>
                    <a:gd name="connsiteY38" fmla="*/ 0 h 1797712"/>
                    <a:gd name="connsiteX39" fmla="*/ 1416086 w 1812923"/>
                    <a:gd name="connsiteY39" fmla="*/ 3283 h 17977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1812923" h="1797712">
                      <a:moveTo>
                        <a:pt x="963561" y="1529207"/>
                      </a:moveTo>
                      <a:lnTo>
                        <a:pt x="996662" y="1557192"/>
                      </a:lnTo>
                      <a:lnTo>
                        <a:pt x="1025602" y="1585565"/>
                      </a:lnTo>
                      <a:lnTo>
                        <a:pt x="996662" y="1557191"/>
                      </a:lnTo>
                      <a:close/>
                      <a:moveTo>
                        <a:pt x="437863" y="1209760"/>
                      </a:moveTo>
                      <a:lnTo>
                        <a:pt x="558423" y="1262621"/>
                      </a:lnTo>
                      <a:cubicBezTo>
                        <a:pt x="598442" y="1281911"/>
                        <a:pt x="638246" y="1302877"/>
                        <a:pt x="677703" y="1325531"/>
                      </a:cubicBezTo>
                      <a:cubicBezTo>
                        <a:pt x="598790" y="1280224"/>
                        <a:pt x="518484" y="1241668"/>
                        <a:pt x="437864" y="1209760"/>
                      </a:cubicBezTo>
                      <a:close/>
                      <a:moveTo>
                        <a:pt x="1416393" y="0"/>
                      </a:moveTo>
                      <a:lnTo>
                        <a:pt x="1534408" y="157652"/>
                      </a:lnTo>
                      <a:cubicBezTo>
                        <a:pt x="1622770" y="296588"/>
                        <a:pt x="1695002" y="456361"/>
                        <a:pt x="1744356" y="631530"/>
                      </a:cubicBezTo>
                      <a:cubicBezTo>
                        <a:pt x="1793709" y="806700"/>
                        <a:pt x="1815513" y="980681"/>
                        <a:pt x="1812680" y="1145311"/>
                      </a:cubicBezTo>
                      <a:lnTo>
                        <a:pt x="1794327" y="1341384"/>
                      </a:lnTo>
                      <a:lnTo>
                        <a:pt x="1783087" y="1326369"/>
                      </a:lnTo>
                      <a:lnTo>
                        <a:pt x="1787652" y="1342726"/>
                      </a:lnTo>
                      <a:lnTo>
                        <a:pt x="1756486" y="1350740"/>
                      </a:lnTo>
                      <a:cubicBezTo>
                        <a:pt x="1543371" y="1417026"/>
                        <a:pt x="1361690" y="1554658"/>
                        <a:pt x="1239382" y="1735698"/>
                      </a:cubicBezTo>
                      <a:lnTo>
                        <a:pt x="1205296" y="1791806"/>
                      </a:lnTo>
                      <a:lnTo>
                        <a:pt x="1086008" y="1644789"/>
                      </a:lnTo>
                      <a:lnTo>
                        <a:pt x="1210088" y="1797712"/>
                      </a:lnTo>
                      <a:lnTo>
                        <a:pt x="1015466" y="1767654"/>
                      </a:lnTo>
                      <a:cubicBezTo>
                        <a:pt x="855123" y="1730219"/>
                        <a:pt x="691725" y="1666612"/>
                        <a:pt x="533899" y="1575997"/>
                      </a:cubicBezTo>
                      <a:cubicBezTo>
                        <a:pt x="376073" y="1485383"/>
                        <a:pt x="238762" y="1376340"/>
                        <a:pt x="125594" y="1256739"/>
                      </a:cubicBezTo>
                      <a:lnTo>
                        <a:pt x="1513" y="1103817"/>
                      </a:lnTo>
                      <a:lnTo>
                        <a:pt x="4874" y="1104336"/>
                      </a:lnTo>
                      <a:lnTo>
                        <a:pt x="0" y="1101525"/>
                      </a:lnTo>
                      <a:lnTo>
                        <a:pt x="86840" y="958582"/>
                      </a:lnTo>
                      <a:cubicBezTo>
                        <a:pt x="383993" y="518737"/>
                        <a:pt x="825395" y="184354"/>
                        <a:pt x="1343167" y="23310"/>
                      </a:cubicBezTo>
                      <a:lnTo>
                        <a:pt x="1414306" y="5018"/>
                      </a:lnTo>
                      <a:lnTo>
                        <a:pt x="1415517" y="9358"/>
                      </a:lnTo>
                      <a:lnTo>
                        <a:pt x="1414481" y="20434"/>
                      </a:lnTo>
                      <a:lnTo>
                        <a:pt x="1398042" y="196073"/>
                      </a:lnTo>
                      <a:cubicBezTo>
                        <a:pt x="1395209" y="360704"/>
                        <a:pt x="1417012" y="534685"/>
                        <a:pt x="1466366" y="709854"/>
                      </a:cubicBezTo>
                      <a:cubicBezTo>
                        <a:pt x="1515720" y="885023"/>
                        <a:pt x="1587951" y="1044796"/>
                        <a:pt x="1676314" y="1183732"/>
                      </a:cubicBezTo>
                      <a:lnTo>
                        <a:pt x="1794327" y="1341384"/>
                      </a:lnTo>
                      <a:lnTo>
                        <a:pt x="1812680" y="1145311"/>
                      </a:lnTo>
                      <a:cubicBezTo>
                        <a:pt x="1815513" y="980681"/>
                        <a:pt x="1793709" y="806700"/>
                        <a:pt x="1744356" y="631530"/>
                      </a:cubicBezTo>
                      <a:cubicBezTo>
                        <a:pt x="1695002" y="456361"/>
                        <a:pt x="1622770" y="296588"/>
                        <a:pt x="1534408" y="157652"/>
                      </a:cubicBezTo>
                      <a:lnTo>
                        <a:pt x="1416393" y="0"/>
                      </a:lnTo>
                      <a:lnTo>
                        <a:pt x="1416086" y="3283"/>
                      </a:lnTo>
                      <a:close/>
                    </a:path>
                  </a:pathLst>
                </a:custGeom>
                <a:solidFill>
                  <a:srgbClr val="3FBE80"/>
                </a:solidFill>
                <a:ln>
                  <a:noFill/>
                </a:ln>
              </p:spPr>
              <p:txBody>
                <a:bodyPr vert="horz" wrap="square" lIns="91439" tIns="45719" rIns="91439" bIns="4571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863949"/>
                  <a:endParaRPr lang="en-US">
                    <a:solidFill>
                      <a:srgbClr val="555C6B"/>
                    </a:solidFill>
                    <a:latin typeface="Calibri"/>
                  </a:endParaRPr>
                </a:p>
              </p:txBody>
            </p:sp>
          </p:grpSp>
          <p:pic>
            <p:nvPicPr>
              <p:cNvPr id="23" name="Picture 12" descr="value chain Icon - Free PNG &amp; SVG 3308392 - Noun Project">
                <a:extLst>
                  <a:ext uri="{FF2B5EF4-FFF2-40B4-BE49-F238E27FC236}">
                    <a16:creationId xmlns:a16="http://schemas.microsoft.com/office/drawing/2014/main" id="{BBE92792-40F7-4A47-FDFD-0EF17EBB0A7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 cstate="print"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16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524085" y="2281884"/>
                <a:ext cx="1220853" cy="1220853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5" name="Picture 4" descr="esg Icon - Free PNG &amp; SVG 4716830 - Noun Project">
                <a:extLst>
                  <a:ext uri="{FF2B5EF4-FFF2-40B4-BE49-F238E27FC236}">
                    <a16:creationId xmlns:a16="http://schemas.microsoft.com/office/drawing/2014/main" id="{D15103DB-1171-4724-388A-DF4D4670210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7" cstate="print">
                <a:extLst>
                  <a:ext uri="{BEBA8EAE-BF5A-486C-A8C5-ECC9F3942E4B}">
                    <a14:imgProps xmlns:a14="http://schemas.microsoft.com/office/drawing/2010/main">
                      <a14:imgLayer r:embed="rId18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0800000" flipV="1">
                <a:off x="8344994" y="740519"/>
                <a:ext cx="804081" cy="80408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7" name="Picture 10" descr="Arrow Cross Icons - Free SVG &amp; PNG Arrow Cross Images - Noun Project">
                <a:extLst>
                  <a:ext uri="{FF2B5EF4-FFF2-40B4-BE49-F238E27FC236}">
                    <a16:creationId xmlns:a16="http://schemas.microsoft.com/office/drawing/2014/main" id="{700597FD-5775-1992-0763-F4A131E0E36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extLst>
                  <a:ext uri="{BEBA8EAE-BF5A-486C-A8C5-ECC9F3942E4B}">
                    <a14:imgProps xmlns:a14="http://schemas.microsoft.com/office/drawing/2010/main">
                      <a14:imgLayer r:embed="rId20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 flipV="1">
                <a:off x="9654306" y="2186809"/>
                <a:ext cx="703968" cy="70396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8" name="Picture 2" descr="Road map Icons &amp; Symbols">
                <a:extLst>
                  <a:ext uri="{FF2B5EF4-FFF2-40B4-BE49-F238E27FC236}">
                    <a16:creationId xmlns:a16="http://schemas.microsoft.com/office/drawing/2014/main" id="{33DB69DA-850E-CCC7-F314-14BC8E42041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1" cstate="print"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22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0800000" flipV="1">
                <a:off x="9099697" y="4012132"/>
                <a:ext cx="632299" cy="63229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9" name="Picture 16" descr="Stakeholders Icon - Free PNG &amp; SVG 4426986 - Noun Project">
                <a:extLst>
                  <a:ext uri="{FF2B5EF4-FFF2-40B4-BE49-F238E27FC236}">
                    <a16:creationId xmlns:a16="http://schemas.microsoft.com/office/drawing/2014/main" id="{15461DF7-F43C-2101-5252-2372B8A54B4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3" cstate="print"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24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0800000" flipV="1">
                <a:off x="7136047" y="4254499"/>
                <a:ext cx="747905" cy="74790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1" name="Tekstvak 30">
              <a:extLst>
                <a:ext uri="{FF2B5EF4-FFF2-40B4-BE49-F238E27FC236}">
                  <a16:creationId xmlns:a16="http://schemas.microsoft.com/office/drawing/2014/main" id="{4B40C4BB-735C-93E7-EE58-CF76E2F11293}"/>
                </a:ext>
              </a:extLst>
            </p:cNvPr>
            <p:cNvSpPr txBox="1"/>
            <p:nvPr/>
          </p:nvSpPr>
          <p:spPr>
            <a:xfrm>
              <a:off x="8334349" y="1979906"/>
              <a:ext cx="240517" cy="3411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863949">
                <a:buClr>
                  <a:srgbClr val="4AC300"/>
                </a:buClr>
              </a:pPr>
              <a:r>
                <a:rPr lang="en-GB" sz="2000" b="1">
                  <a:solidFill>
                    <a:srgbClr val="FFFFFF"/>
                  </a:solidFill>
                  <a:latin typeface="Montserrat" panose="00000500000000000000" pitchFamily="2" charset="0"/>
                  <a:ea typeface="Open Sans" panose="020B0606030504020204" pitchFamily="34" charset="0"/>
                  <a:cs typeface="Open Sans" panose="020B0606030504020204" pitchFamily="34" charset="0"/>
                </a:rPr>
                <a:t>1</a:t>
              </a:r>
            </a:p>
          </p:txBody>
        </p:sp>
        <p:sp>
          <p:nvSpPr>
            <p:cNvPr id="1044" name="Tekstvak 1043">
              <a:extLst>
                <a:ext uri="{FF2B5EF4-FFF2-40B4-BE49-F238E27FC236}">
                  <a16:creationId xmlns:a16="http://schemas.microsoft.com/office/drawing/2014/main" id="{CD28561F-E277-CF4B-3F5E-E3C6957869E0}"/>
                </a:ext>
              </a:extLst>
            </p:cNvPr>
            <p:cNvSpPr txBox="1"/>
            <p:nvPr/>
          </p:nvSpPr>
          <p:spPr>
            <a:xfrm>
              <a:off x="8906312" y="2667211"/>
              <a:ext cx="240517" cy="3411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863949">
                <a:buClr>
                  <a:srgbClr val="4AC300"/>
                </a:buClr>
              </a:pPr>
              <a:r>
                <a:rPr lang="en-GB" sz="2000" b="1">
                  <a:solidFill>
                    <a:srgbClr val="FFFFFF"/>
                  </a:solidFill>
                  <a:latin typeface="Montserrat" panose="00000500000000000000" pitchFamily="2" charset="0"/>
                  <a:ea typeface="Open Sans" panose="020B0606030504020204" pitchFamily="34" charset="0"/>
                  <a:cs typeface="Open Sans" panose="020B0606030504020204" pitchFamily="34" charset="0"/>
                </a:rPr>
                <a:t>2</a:t>
              </a:r>
            </a:p>
          </p:txBody>
        </p:sp>
        <p:sp>
          <p:nvSpPr>
            <p:cNvPr id="1049" name="Tekstvak 1048">
              <a:extLst>
                <a:ext uri="{FF2B5EF4-FFF2-40B4-BE49-F238E27FC236}">
                  <a16:creationId xmlns:a16="http://schemas.microsoft.com/office/drawing/2014/main" id="{90AEFBE4-A02F-B600-CB30-8B903789697C}"/>
                </a:ext>
              </a:extLst>
            </p:cNvPr>
            <p:cNvSpPr txBox="1"/>
            <p:nvPr/>
          </p:nvSpPr>
          <p:spPr>
            <a:xfrm>
              <a:off x="8605926" y="3510560"/>
              <a:ext cx="240517" cy="3411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863949">
                <a:buClr>
                  <a:srgbClr val="4AC300"/>
                </a:buClr>
              </a:pPr>
              <a:r>
                <a:rPr lang="en-GB" sz="2000" b="1">
                  <a:solidFill>
                    <a:srgbClr val="FFFFFF"/>
                  </a:solidFill>
                  <a:latin typeface="Montserrat" panose="00000500000000000000" pitchFamily="2" charset="0"/>
                  <a:ea typeface="Open Sans" panose="020B0606030504020204" pitchFamily="34" charset="0"/>
                  <a:cs typeface="Open Sans" panose="020B0606030504020204" pitchFamily="34" charset="0"/>
                </a:rPr>
                <a:t>3</a:t>
              </a:r>
            </a:p>
          </p:txBody>
        </p:sp>
        <p:sp>
          <p:nvSpPr>
            <p:cNvPr id="1050" name="Tekstvak 1049">
              <a:extLst>
                <a:ext uri="{FF2B5EF4-FFF2-40B4-BE49-F238E27FC236}">
                  <a16:creationId xmlns:a16="http://schemas.microsoft.com/office/drawing/2014/main" id="{655FA033-5394-8E34-6E4E-07D011F1DB26}"/>
                </a:ext>
              </a:extLst>
            </p:cNvPr>
            <p:cNvSpPr txBox="1"/>
            <p:nvPr/>
          </p:nvSpPr>
          <p:spPr>
            <a:xfrm>
              <a:off x="7679031" y="3696212"/>
              <a:ext cx="240517" cy="3411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863949">
                <a:buClr>
                  <a:srgbClr val="4AC300"/>
                </a:buClr>
              </a:pPr>
              <a:r>
                <a:rPr lang="en-GB" sz="2000" b="1">
                  <a:solidFill>
                    <a:srgbClr val="FFFFFF"/>
                  </a:solidFill>
                  <a:latin typeface="Montserrat" panose="00000500000000000000" pitchFamily="2" charset="0"/>
                  <a:ea typeface="Open Sans" panose="020B0606030504020204" pitchFamily="34" charset="0"/>
                  <a:cs typeface="Open Sans" panose="020B0606030504020204" pitchFamily="34" charset="0"/>
                </a:rPr>
                <a:t>4</a:t>
              </a:r>
              <a:endParaRPr lang="en-GB" sz="2400" b="1">
                <a:solidFill>
                  <a:srgbClr val="FFFFFF"/>
                </a:solidFill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51" name="Tekstvak 1050">
              <a:extLst>
                <a:ext uri="{FF2B5EF4-FFF2-40B4-BE49-F238E27FC236}">
                  <a16:creationId xmlns:a16="http://schemas.microsoft.com/office/drawing/2014/main" id="{18A8B8CB-881C-D0FB-1103-08534C925D4C}"/>
                </a:ext>
              </a:extLst>
            </p:cNvPr>
            <p:cNvSpPr txBox="1"/>
            <p:nvPr/>
          </p:nvSpPr>
          <p:spPr>
            <a:xfrm>
              <a:off x="7101670" y="3027471"/>
              <a:ext cx="240517" cy="3411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863949">
                <a:buClr>
                  <a:srgbClr val="4AC300"/>
                </a:buClr>
              </a:pPr>
              <a:r>
                <a:rPr lang="en-GB" sz="2000" b="1">
                  <a:solidFill>
                    <a:srgbClr val="FFFFFF"/>
                  </a:solidFill>
                  <a:latin typeface="Montserrat" panose="00000500000000000000" pitchFamily="2" charset="0"/>
                  <a:ea typeface="Open Sans" panose="020B0606030504020204" pitchFamily="34" charset="0"/>
                  <a:cs typeface="Open Sans" panose="020B0606030504020204" pitchFamily="34" charset="0"/>
                </a:rPr>
                <a:t>5</a:t>
              </a:r>
              <a:endParaRPr lang="en-GB" sz="2400" b="1">
                <a:solidFill>
                  <a:srgbClr val="FFFFFF"/>
                </a:solidFill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52" name="Tekstvak 1051">
              <a:extLst>
                <a:ext uri="{FF2B5EF4-FFF2-40B4-BE49-F238E27FC236}">
                  <a16:creationId xmlns:a16="http://schemas.microsoft.com/office/drawing/2014/main" id="{96632B85-CA05-7E3D-66B1-B2BA1F19BD3E}"/>
                </a:ext>
              </a:extLst>
            </p:cNvPr>
            <p:cNvSpPr txBox="1"/>
            <p:nvPr/>
          </p:nvSpPr>
          <p:spPr>
            <a:xfrm>
              <a:off x="7362666" y="2125660"/>
              <a:ext cx="240517" cy="3411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863949">
                <a:buClr>
                  <a:srgbClr val="4AC300"/>
                </a:buClr>
              </a:pPr>
              <a:r>
                <a:rPr lang="en-GB" sz="2000" b="1">
                  <a:solidFill>
                    <a:srgbClr val="FFFFFF"/>
                  </a:solidFill>
                  <a:latin typeface="Montserrat" panose="00000500000000000000" pitchFamily="2" charset="0"/>
                  <a:ea typeface="Open Sans" panose="020B0606030504020204" pitchFamily="34" charset="0"/>
                  <a:cs typeface="Open Sans" panose="020B0606030504020204" pitchFamily="34" charset="0"/>
                </a:rPr>
                <a:t>6</a:t>
              </a:r>
              <a:endParaRPr lang="en-GB" sz="2400" b="1">
                <a:solidFill>
                  <a:srgbClr val="FFFFFF"/>
                </a:solidFill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pic>
          <p:nvPicPr>
            <p:cNvPr id="1053" name="Picture 2" descr="Performance - Free business icons">
              <a:extLst>
                <a:ext uri="{FF2B5EF4-FFF2-40B4-BE49-F238E27FC236}">
                  <a16:creationId xmlns:a16="http://schemas.microsoft.com/office/drawing/2014/main" id="{99B8A537-7DA8-C607-6651-43CF8C7D6A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BEBA8EAE-BF5A-486C-A8C5-ECC9F3942E4B}">
                  <a14:imgProps xmlns:a14="http://schemas.microsoft.com/office/drawing/2010/main">
                    <a14:imgLayer r:embed="rId26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54882" y="2994925"/>
              <a:ext cx="544632" cy="544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61" name="Picture 4" descr="Communication Noomtah Outline icon">
              <a:extLst>
                <a:ext uri="{FF2B5EF4-FFF2-40B4-BE49-F238E27FC236}">
                  <a16:creationId xmlns:a16="http://schemas.microsoft.com/office/drawing/2014/main" id="{28F654E7-FDCD-A174-58CE-1B7E6ACD8B4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BEBA8EAE-BF5A-486C-A8C5-ECC9F3942E4B}">
                  <a14:imgProps xmlns:a14="http://schemas.microsoft.com/office/drawing/2010/main">
                    <a14:imgLayer r:embed="rId2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9078" y="1676558"/>
              <a:ext cx="495120" cy="4951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4" name="Tekstvak 53">
            <a:extLst>
              <a:ext uri="{FF2B5EF4-FFF2-40B4-BE49-F238E27FC236}">
                <a16:creationId xmlns:a16="http://schemas.microsoft.com/office/drawing/2014/main" id="{8B2A2CBA-C828-1009-AE59-8AE5BCE97F1F}"/>
              </a:ext>
            </a:extLst>
          </p:cNvPr>
          <p:cNvSpPr txBox="1"/>
          <p:nvPr/>
        </p:nvSpPr>
        <p:spPr>
          <a:xfrm>
            <a:off x="7222661" y="1250519"/>
            <a:ext cx="92729" cy="1315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863949">
              <a:buClr>
                <a:srgbClr val="4AC300"/>
              </a:buClr>
            </a:pPr>
            <a:endParaRPr lang="en-GB" sz="2800" b="1">
              <a:solidFill>
                <a:srgbClr val="FFFFFF"/>
              </a:solidFill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891318A6-2377-3BB9-8631-2D4FAADA91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688" y="6119725"/>
            <a:ext cx="431800" cy="360362"/>
          </a:xfrm>
        </p:spPr>
        <p:txBody>
          <a:bodyPr/>
          <a:lstStyle/>
          <a:p>
            <a:pPr marL="0" marR="0" lvl="0" indent="0" algn="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82D01A-ED25-4F30-894A-E32B487BCBA5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F4F6F8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pPr marL="0" marR="0" lvl="0" indent="0" algn="r" defTabSz="86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F4F6F8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404B34B5-CA7B-6C69-1524-A703CD2B99A1}"/>
              </a:ext>
            </a:extLst>
          </p:cNvPr>
          <p:cNvSpPr/>
          <p:nvPr/>
        </p:nvSpPr>
        <p:spPr>
          <a:xfrm>
            <a:off x="244" y="5804413"/>
            <a:ext cx="11520488" cy="67558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err="1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5" name="Title 1">
            <a:extLst>
              <a:ext uri="{FF2B5EF4-FFF2-40B4-BE49-F238E27FC236}">
                <a16:creationId xmlns:a16="http://schemas.microsoft.com/office/drawing/2014/main" id="{62EE681D-6DA7-8232-EA5B-2685585EF56B}"/>
              </a:ext>
            </a:extLst>
          </p:cNvPr>
          <p:cNvSpPr txBox="1">
            <a:spLocks/>
          </p:cNvSpPr>
          <p:nvPr/>
        </p:nvSpPr>
        <p:spPr>
          <a:xfrm>
            <a:off x="125479" y="5917710"/>
            <a:ext cx="10296239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BeYOND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39356648-4CD1-2974-6D9B-3DCB6997B293}"/>
              </a:ext>
            </a:extLst>
          </p:cNvPr>
          <p:cNvPicPr>
            <a:picLocks noChangeAspect="1"/>
          </p:cNvPicPr>
          <p:nvPr/>
        </p:nvPicPr>
        <p:blipFill rotWithShape="1"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21" name="Picture 2" descr="Nationale Coalitie Duurzame Digitalisering">
            <a:extLst>
              <a:ext uri="{FF2B5EF4-FFF2-40B4-BE49-F238E27FC236}">
                <a16:creationId xmlns:a16="http://schemas.microsoft.com/office/drawing/2014/main" id="{CCFF7616-F3C0-DDA5-926A-31135C24C7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BEBA8EAE-BF5A-486C-A8C5-ECC9F3942E4B}">
                <a14:imgProps xmlns:a14="http://schemas.microsoft.com/office/drawing/2010/main">
                  <a14:imgLayer r:embed="rId3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4151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0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3FB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33073BA-6013-1AF3-7218-93A97C22B9DF}"/>
              </a:ext>
            </a:extLst>
          </p:cNvPr>
          <p:cNvSpPr/>
          <p:nvPr/>
        </p:nvSpPr>
        <p:spPr>
          <a:xfrm>
            <a:off x="-16931" y="-8029"/>
            <a:ext cx="4694756" cy="5812314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9" tIns="35999" rIns="35999" bIns="359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3949">
              <a:buClr>
                <a:srgbClr val="4AC300"/>
              </a:buClr>
            </a:pPr>
            <a:endParaRPr lang="en-GB" sz="90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TextBox 80">
            <a:extLst>
              <a:ext uri="{FF2B5EF4-FFF2-40B4-BE49-F238E27FC236}">
                <a16:creationId xmlns:a16="http://schemas.microsoft.com/office/drawing/2014/main" id="{E4B56F38-D319-1E33-83EB-0F04349BE264}"/>
              </a:ext>
            </a:extLst>
          </p:cNvPr>
          <p:cNvSpPr txBox="1"/>
          <p:nvPr/>
        </p:nvSpPr>
        <p:spPr>
          <a:xfrm>
            <a:off x="108767" y="638710"/>
            <a:ext cx="4489159" cy="4029308"/>
          </a:xfrm>
          <a:prstGeom prst="rect">
            <a:avLst/>
          </a:prstGeom>
          <a:noFill/>
        </p:spPr>
        <p:txBody>
          <a:bodyPr wrap="square" lIns="0" rtlCol="0" anchor="t">
            <a:spAutoFit/>
          </a:bodyPr>
          <a:lstStyle/>
          <a:p>
            <a:pPr defTabSz="914343">
              <a:defRPr/>
            </a:pPr>
            <a:r>
              <a:rPr lang="en-US" sz="16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STAP 7:</a:t>
            </a:r>
            <a:br>
              <a:rPr lang="en-US" sz="1800" b="1" kern="0" noProof="1">
                <a:solidFill>
                  <a:srgbClr val="F3FBF7"/>
                </a:solidFill>
                <a:latin typeface="Montserrat" panose="00000500000000000000" pitchFamily="2" charset="0"/>
              </a:rPr>
            </a:br>
            <a:r>
              <a:rPr lang="nl-NL" sz="28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ESG actieplan &amp; </a:t>
            </a:r>
          </a:p>
          <a:p>
            <a:pPr defTabSz="914343">
              <a:defRPr/>
            </a:pPr>
            <a:r>
              <a:rPr lang="nl-NL" sz="28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continu verbeteren</a:t>
            </a:r>
          </a:p>
          <a:p>
            <a:pPr defTabSz="914343">
              <a:defRPr/>
            </a:pPr>
            <a:endParaRPr lang="nl-NL" sz="900" kern="0" noProof="1">
              <a:solidFill>
                <a:srgbClr val="F3FBF7"/>
              </a:solidFill>
              <a:latin typeface="Montserrat" panose="00000500000000000000" pitchFamily="2" charset="0"/>
            </a:endParaRPr>
          </a:p>
          <a:p>
            <a:pPr marL="324006" indent="-324006" defTabSz="863973">
              <a:spcAft>
                <a:spcPts val="189"/>
              </a:spcAft>
              <a:buFont typeface="+mj-lt"/>
              <a:buAutoNum type="arabicPeriod"/>
              <a:defRPr/>
            </a:pPr>
            <a:r>
              <a:rPr lang="en-US" sz="11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INZICHT </a:t>
            </a:r>
            <a:r>
              <a:rPr lang="en-US" sz="1100" kern="0" noProof="1">
                <a:solidFill>
                  <a:srgbClr val="F3FBF7"/>
                </a:solidFill>
                <a:latin typeface="Montserrat" panose="00000500000000000000" pitchFamily="2" charset="0"/>
              </a:rPr>
              <a:t>in fact-based ESG performance incl. kansen en risico’s o.b.v. uitkomst vorige stappen.</a:t>
            </a:r>
          </a:p>
          <a:p>
            <a:pPr marL="342896" indent="-342896" defTabSz="914343">
              <a:spcBef>
                <a:spcPts val="283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US" sz="11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ALIGN </a:t>
            </a:r>
            <a:r>
              <a:rPr lang="en-US" sz="1100" kern="0" noProof="1">
                <a:solidFill>
                  <a:srgbClr val="F3FBF7"/>
                </a:solidFill>
                <a:latin typeface="Montserrat" panose="00000500000000000000" pitchFamily="2" charset="0"/>
              </a:rPr>
              <a:t>en intergreer materiële ESG topics met bestaande bedrijfs- en duurzaamheidstrategie, incl. risicomanagement.</a:t>
            </a:r>
          </a:p>
          <a:p>
            <a:pPr marL="342896" indent="-342896" defTabSz="914343">
              <a:spcBef>
                <a:spcPts val="283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US" sz="11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ONTWERP</a:t>
            </a:r>
            <a:r>
              <a:rPr lang="en-US" sz="1100" kern="0" noProof="1">
                <a:solidFill>
                  <a:srgbClr val="F3FBF7"/>
                </a:solidFill>
                <a:latin typeface="Montserrat" panose="00000500000000000000" pitchFamily="2" charset="0"/>
              </a:rPr>
              <a:t> actieplan o.b.v. alignment, 0-meting, ESG-KPI’s en -doelstellingen.</a:t>
            </a:r>
          </a:p>
          <a:p>
            <a:pPr marL="342896" indent="-342896" defTabSz="914343">
              <a:spcBef>
                <a:spcPts val="283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US" sz="11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BETREK</a:t>
            </a:r>
            <a:r>
              <a:rPr lang="en-US" sz="1100" kern="0" noProof="1">
                <a:solidFill>
                  <a:srgbClr val="F3FBF7"/>
                </a:solidFill>
                <a:latin typeface="Montserrat" panose="00000500000000000000" pitchFamily="2" charset="0"/>
              </a:rPr>
              <a:t> </a:t>
            </a:r>
            <a:r>
              <a:rPr lang="nl-NL" sz="1100" kern="0" noProof="1">
                <a:solidFill>
                  <a:srgbClr val="F3FBF7"/>
                </a:solidFill>
                <a:latin typeface="Montserrat" panose="00000500000000000000" pitchFamily="2" charset="0"/>
              </a:rPr>
              <a:t>relevante stakeholders welke key zijn in de realisatie van het actieplan.</a:t>
            </a:r>
          </a:p>
          <a:p>
            <a:pPr marL="342896" indent="-342896" defTabSz="914343">
              <a:spcBef>
                <a:spcPts val="283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US" sz="11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REALISEER</a:t>
            </a:r>
            <a:r>
              <a:rPr lang="en-US" sz="1100" kern="0" noProof="1">
                <a:solidFill>
                  <a:srgbClr val="F3FBF7"/>
                </a:solidFill>
                <a:latin typeface="Montserrat" panose="00000500000000000000" pitchFamily="2" charset="0"/>
              </a:rPr>
              <a:t> verbeteracties en </a:t>
            </a:r>
            <a:r>
              <a:rPr lang="nl-NL" sz="1100" kern="0" noProof="1">
                <a:solidFill>
                  <a:srgbClr val="F3FBF7"/>
                </a:solidFill>
                <a:latin typeface="Montserrat" panose="00000500000000000000" pitchFamily="2" charset="0"/>
              </a:rPr>
              <a:t>cascadeer actieplan binnen organisatie. Integreer in governance</a:t>
            </a:r>
            <a:r>
              <a:rPr lang="en-US" sz="1100" kern="0" noProof="1">
                <a:solidFill>
                  <a:srgbClr val="F3FBF7"/>
                </a:solidFill>
                <a:latin typeface="Montserrat" panose="00000500000000000000" pitchFamily="2" charset="0"/>
              </a:rPr>
              <a:t> en (Agile) projectmanagement structuur en communiceer. </a:t>
            </a:r>
          </a:p>
          <a:p>
            <a:pPr marL="342896" indent="-342896" defTabSz="914343">
              <a:spcBef>
                <a:spcPts val="283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US" sz="11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DEEL</a:t>
            </a:r>
            <a:r>
              <a:rPr lang="en-US" sz="1100" kern="0" noProof="1">
                <a:solidFill>
                  <a:srgbClr val="F3FBF7"/>
                </a:solidFill>
                <a:latin typeface="Montserrat" panose="00000500000000000000" pitchFamily="2" charset="0"/>
              </a:rPr>
              <a:t> </a:t>
            </a:r>
            <a:r>
              <a:rPr lang="nl-NL" sz="1100" kern="0" noProof="1">
                <a:solidFill>
                  <a:srgbClr val="F3FBF7"/>
                </a:solidFill>
                <a:latin typeface="Montserrat" panose="00000500000000000000" pitchFamily="2" charset="0"/>
              </a:rPr>
              <a:t>best practices en lessons learned proactief met interne en externe stakeholders.</a:t>
            </a:r>
          </a:p>
        </p:txBody>
      </p:sp>
      <p:sp>
        <p:nvSpPr>
          <p:cNvPr id="1054" name="Tekstvak 27">
            <a:extLst>
              <a:ext uri="{FF2B5EF4-FFF2-40B4-BE49-F238E27FC236}">
                <a16:creationId xmlns:a16="http://schemas.microsoft.com/office/drawing/2014/main" id="{AA68711F-B851-76B1-163F-F27E0078D571}"/>
              </a:ext>
            </a:extLst>
          </p:cNvPr>
          <p:cNvSpPr txBox="1"/>
          <p:nvPr/>
        </p:nvSpPr>
        <p:spPr>
          <a:xfrm>
            <a:off x="8854810" y="848039"/>
            <a:ext cx="2049043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defTabSz="457195"/>
            <a:r>
              <a:rPr lang="nl-NL" sz="1400" b="1">
                <a:solidFill>
                  <a:srgbClr val="00B050"/>
                </a:solidFill>
                <a:latin typeface="Montserrat" panose="00000500000000000000" pitchFamily="2" charset="0"/>
              </a:rPr>
              <a:t>1. INZICHT </a:t>
            </a:r>
          </a:p>
          <a:p>
            <a:pPr defTabSz="457195"/>
            <a:r>
              <a:rPr lang="nl-NL" sz="1200">
                <a:solidFill>
                  <a:srgbClr val="555C6B"/>
                </a:solidFill>
                <a:latin typeface="Montserrat" panose="00000500000000000000" pitchFamily="2" charset="0"/>
              </a:rPr>
              <a:t>ESG PERFORMANCE</a:t>
            </a:r>
          </a:p>
        </p:txBody>
      </p:sp>
      <p:sp>
        <p:nvSpPr>
          <p:cNvPr id="1056" name="Tekstvak 27">
            <a:extLst>
              <a:ext uri="{FF2B5EF4-FFF2-40B4-BE49-F238E27FC236}">
                <a16:creationId xmlns:a16="http://schemas.microsoft.com/office/drawing/2014/main" id="{8397EC22-937B-3D2E-5C7E-4CE732F1837C}"/>
              </a:ext>
            </a:extLst>
          </p:cNvPr>
          <p:cNvSpPr txBox="1"/>
          <p:nvPr/>
        </p:nvSpPr>
        <p:spPr>
          <a:xfrm>
            <a:off x="9960999" y="2428313"/>
            <a:ext cx="1559401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defTabSz="457195"/>
            <a:r>
              <a:rPr lang="nl-NL" sz="1400" b="1">
                <a:solidFill>
                  <a:srgbClr val="00B050"/>
                </a:solidFill>
                <a:latin typeface="Montserrat" panose="00000500000000000000" pitchFamily="2" charset="0"/>
              </a:rPr>
              <a:t>2. ALIGN </a:t>
            </a:r>
          </a:p>
          <a:p>
            <a:pPr defTabSz="457195"/>
            <a:r>
              <a:rPr lang="nl-NL" sz="1200">
                <a:solidFill>
                  <a:srgbClr val="555C6B"/>
                </a:solidFill>
                <a:latin typeface="Montserrat" panose="00000500000000000000" pitchFamily="2" charset="0"/>
              </a:rPr>
              <a:t>STRATEGIE &amp; FRAMEWORK</a:t>
            </a:r>
          </a:p>
        </p:txBody>
      </p:sp>
      <p:sp>
        <p:nvSpPr>
          <p:cNvPr id="1057" name="Tekstvak 27">
            <a:extLst>
              <a:ext uri="{FF2B5EF4-FFF2-40B4-BE49-F238E27FC236}">
                <a16:creationId xmlns:a16="http://schemas.microsoft.com/office/drawing/2014/main" id="{F930A5D8-983D-577C-38F1-A39A5FFA9054}"/>
              </a:ext>
            </a:extLst>
          </p:cNvPr>
          <p:cNvSpPr txBox="1"/>
          <p:nvPr/>
        </p:nvSpPr>
        <p:spPr>
          <a:xfrm>
            <a:off x="9316422" y="4332843"/>
            <a:ext cx="2049043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defTabSz="457195"/>
            <a:r>
              <a:rPr lang="nl-NL" sz="1400" b="1">
                <a:solidFill>
                  <a:srgbClr val="00B050"/>
                </a:solidFill>
                <a:latin typeface="Montserrat" panose="00000500000000000000" pitchFamily="2" charset="0"/>
              </a:rPr>
              <a:t>3. ONTWERP </a:t>
            </a:r>
          </a:p>
          <a:p>
            <a:pPr defTabSz="457195"/>
            <a:r>
              <a:rPr lang="nl-NL" sz="1200">
                <a:solidFill>
                  <a:srgbClr val="555C6B"/>
                </a:solidFill>
                <a:latin typeface="Montserrat" panose="00000500000000000000" pitchFamily="2" charset="0"/>
              </a:rPr>
              <a:t>ACTIEPLAN</a:t>
            </a:r>
          </a:p>
        </p:txBody>
      </p:sp>
      <p:sp>
        <p:nvSpPr>
          <p:cNvPr id="1058" name="Tekstvak 27">
            <a:extLst>
              <a:ext uri="{FF2B5EF4-FFF2-40B4-BE49-F238E27FC236}">
                <a16:creationId xmlns:a16="http://schemas.microsoft.com/office/drawing/2014/main" id="{5D08AC25-E8A1-E71D-BE08-AD5B6A702B13}"/>
              </a:ext>
            </a:extLst>
          </p:cNvPr>
          <p:cNvSpPr txBox="1"/>
          <p:nvPr/>
        </p:nvSpPr>
        <p:spPr>
          <a:xfrm>
            <a:off x="5471521" y="4649258"/>
            <a:ext cx="2049043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algn="r" defTabSz="457195"/>
            <a:r>
              <a:rPr lang="nl-NL" sz="1400" b="1">
                <a:solidFill>
                  <a:srgbClr val="00B050"/>
                </a:solidFill>
                <a:latin typeface="Montserrat" panose="00000500000000000000" pitchFamily="2" charset="0"/>
              </a:rPr>
              <a:t>4. BETREK </a:t>
            </a:r>
          </a:p>
          <a:p>
            <a:pPr algn="r" defTabSz="457195"/>
            <a:r>
              <a:rPr lang="nl-NL" sz="1200">
                <a:solidFill>
                  <a:srgbClr val="555C6B"/>
                </a:solidFill>
                <a:latin typeface="Montserrat" panose="00000500000000000000" pitchFamily="2" charset="0"/>
              </a:rPr>
              <a:t>STAKEHOLDERS</a:t>
            </a:r>
          </a:p>
        </p:txBody>
      </p:sp>
      <p:sp>
        <p:nvSpPr>
          <p:cNvPr id="1059" name="Tekstvak 27">
            <a:extLst>
              <a:ext uri="{FF2B5EF4-FFF2-40B4-BE49-F238E27FC236}">
                <a16:creationId xmlns:a16="http://schemas.microsoft.com/office/drawing/2014/main" id="{9DE78BAE-462A-1D50-E169-C24A96AFCE0D}"/>
              </a:ext>
            </a:extLst>
          </p:cNvPr>
          <p:cNvSpPr txBox="1"/>
          <p:nvPr/>
        </p:nvSpPr>
        <p:spPr>
          <a:xfrm>
            <a:off x="4276184" y="2940508"/>
            <a:ext cx="2049043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algn="r" defTabSz="457195"/>
            <a:r>
              <a:rPr lang="nl-NL" sz="1400" b="1">
                <a:solidFill>
                  <a:srgbClr val="00B050"/>
                </a:solidFill>
                <a:latin typeface="Montserrat" panose="00000500000000000000" pitchFamily="2" charset="0"/>
              </a:rPr>
              <a:t>5. REALISEER </a:t>
            </a:r>
          </a:p>
          <a:p>
            <a:pPr algn="r" defTabSz="457195"/>
            <a:r>
              <a:rPr lang="nl-NL" sz="1200">
                <a:solidFill>
                  <a:srgbClr val="555C6B"/>
                </a:solidFill>
                <a:latin typeface="Montserrat" panose="00000500000000000000" pitchFamily="2" charset="0"/>
              </a:rPr>
              <a:t>VERBETERACTIES</a:t>
            </a:r>
          </a:p>
        </p:txBody>
      </p:sp>
      <p:sp>
        <p:nvSpPr>
          <p:cNvPr id="1060" name="Tekstvak 27">
            <a:extLst>
              <a:ext uri="{FF2B5EF4-FFF2-40B4-BE49-F238E27FC236}">
                <a16:creationId xmlns:a16="http://schemas.microsoft.com/office/drawing/2014/main" id="{F3D55928-6204-42E4-7790-DCBDE630E047}"/>
              </a:ext>
            </a:extLst>
          </p:cNvPr>
          <p:cNvSpPr txBox="1"/>
          <p:nvPr/>
        </p:nvSpPr>
        <p:spPr>
          <a:xfrm>
            <a:off x="4918662" y="999934"/>
            <a:ext cx="204904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1pPr>
            <a:lvl2pPr marL="4572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2pPr>
            <a:lvl3pPr marL="9144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3pPr>
            <a:lvl4pPr marL="13716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4pPr>
            <a:lvl5pPr marL="18288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5pPr>
            <a:lvl6pPr marL="22860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6pPr>
            <a:lvl7pPr marL="27432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7pPr>
            <a:lvl8pPr marL="32004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8pPr>
            <a:lvl9pPr marL="36576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Calibri" panose="020F0502020204030204"/>
              </a:defRPr>
            </a:lvl9pPr>
          </a:lstStyle>
          <a:p>
            <a:pPr algn="r" defTabSz="457195"/>
            <a:r>
              <a:rPr lang="nl-NL" sz="1400" b="1">
                <a:solidFill>
                  <a:srgbClr val="00B050"/>
                </a:solidFill>
                <a:latin typeface="Montserrat" panose="00000500000000000000" pitchFamily="2" charset="0"/>
              </a:rPr>
              <a:t>6. DEEL </a:t>
            </a:r>
          </a:p>
          <a:p>
            <a:pPr algn="r" defTabSz="457195"/>
            <a:r>
              <a:rPr lang="nl-NL" sz="1200">
                <a:solidFill>
                  <a:srgbClr val="555C6B"/>
                </a:solidFill>
                <a:latin typeface="Montserrat" panose="00000500000000000000" pitchFamily="2" charset="0"/>
              </a:rPr>
              <a:t>BEST PRACTICES &amp; LESSONS LEARNED</a:t>
            </a:r>
          </a:p>
        </p:txBody>
      </p:sp>
      <p:grpSp>
        <p:nvGrpSpPr>
          <p:cNvPr id="1073" name="Groep 1072">
            <a:extLst>
              <a:ext uri="{FF2B5EF4-FFF2-40B4-BE49-F238E27FC236}">
                <a16:creationId xmlns:a16="http://schemas.microsoft.com/office/drawing/2014/main" id="{B281C506-54EE-5E11-8DE1-6DEA30C08AB9}"/>
              </a:ext>
            </a:extLst>
          </p:cNvPr>
          <p:cNvGrpSpPr/>
          <p:nvPr/>
        </p:nvGrpSpPr>
        <p:grpSpPr>
          <a:xfrm>
            <a:off x="6351439" y="1206074"/>
            <a:ext cx="3549459" cy="3549458"/>
            <a:chOff x="6351447" y="1206043"/>
            <a:chExt cx="3549513" cy="3549512"/>
          </a:xfrm>
        </p:grpSpPr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8C55F1F5-84D7-76C2-C3B6-3DA674456AAC}"/>
                </a:ext>
              </a:extLst>
            </p:cNvPr>
            <p:cNvGrpSpPr/>
            <p:nvPr/>
          </p:nvGrpSpPr>
          <p:grpSpPr>
            <a:xfrm>
              <a:off x="6351447" y="1206043"/>
              <a:ext cx="3549513" cy="3549512"/>
              <a:chOff x="5766906" y="535922"/>
              <a:chExt cx="4724401" cy="472440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B1070139-89CF-D1B7-D43E-35A99844FDF4}"/>
                  </a:ext>
                </a:extLst>
              </p:cNvPr>
              <p:cNvSpPr/>
              <p:nvPr/>
            </p:nvSpPr>
            <p:spPr>
              <a:xfrm>
                <a:off x="6927251" y="1804196"/>
                <a:ext cx="2488595" cy="2181384"/>
              </a:xfrm>
              <a:prstGeom prst="rect">
                <a:avLst/>
              </a:prstGeom>
              <a:solidFill>
                <a:srgbClr val="00B050"/>
              </a:solidFill>
              <a:ln w="15875" cap="rnd">
                <a:noFill/>
                <a:round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35999" tIns="35999" rIns="35999" bIns="3599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63949">
                  <a:buClr>
                    <a:srgbClr val="4AC300"/>
                  </a:buClr>
                </a:pPr>
                <a:endParaRPr lang="en-GB" sz="900" err="1">
                  <a:solidFill>
                    <a:srgbClr val="555C6B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grpSp>
            <p:nvGrpSpPr>
              <p:cNvPr id="3" name="Group 3">
                <a:extLst>
                  <a:ext uri="{FF2B5EF4-FFF2-40B4-BE49-F238E27FC236}">
                    <a16:creationId xmlns:a16="http://schemas.microsoft.com/office/drawing/2014/main" id="{FCAA37B4-CAAE-8F4B-8232-EB779F5820A2}"/>
                  </a:ext>
                </a:extLst>
              </p:cNvPr>
              <p:cNvGrpSpPr/>
              <p:nvPr/>
            </p:nvGrpSpPr>
            <p:grpSpPr>
              <a:xfrm>
                <a:off x="5766906" y="535922"/>
                <a:ext cx="4724401" cy="4724400"/>
                <a:chOff x="3733800" y="1507328"/>
                <a:chExt cx="4724401" cy="4724400"/>
              </a:xfrm>
            </p:grpSpPr>
            <p:sp>
              <p:nvSpPr>
                <p:cNvPr id="4" name="Freeform: Shape 70">
                  <a:extLst>
                    <a:ext uri="{FF2B5EF4-FFF2-40B4-BE49-F238E27FC236}">
                      <a16:creationId xmlns:a16="http://schemas.microsoft.com/office/drawing/2014/main" id="{FFC7A2AF-7973-417C-2552-E66728779AD6}"/>
                    </a:ext>
                  </a:extLst>
                </p:cNvPr>
                <p:cNvSpPr/>
                <p:nvPr/>
              </p:nvSpPr>
              <p:spPr>
                <a:xfrm>
                  <a:off x="5448185" y="1507328"/>
                  <a:ext cx="866990" cy="1433630"/>
                </a:xfrm>
                <a:custGeom>
                  <a:avLst/>
                  <a:gdLst>
                    <a:gd name="connsiteX0" fmla="*/ 647815 w 866990"/>
                    <a:gd name="connsiteY0" fmla="*/ 0 h 1433630"/>
                    <a:gd name="connsiteX1" fmla="*/ 866990 w 866990"/>
                    <a:gd name="connsiteY1" fmla="*/ 11068 h 1433630"/>
                    <a:gd name="connsiteX2" fmla="*/ 652578 w 866990"/>
                    <a:gd name="connsiteY2" fmla="*/ 241 h 1433630"/>
                    <a:gd name="connsiteX3" fmla="*/ 652578 w 866990"/>
                    <a:gd name="connsiteY3" fmla="*/ 6061 h 1433630"/>
                    <a:gd name="connsiteX4" fmla="*/ 654508 w 866990"/>
                    <a:gd name="connsiteY4" fmla="*/ 1018 h 1433630"/>
                    <a:gd name="connsiteX5" fmla="*/ 725788 w 866990"/>
                    <a:gd name="connsiteY5" fmla="*/ 184595 h 1433630"/>
                    <a:gd name="connsiteX6" fmla="*/ 800593 w 866990"/>
                    <a:gd name="connsiteY6" fmla="*/ 697472 h 1433630"/>
                    <a:gd name="connsiteX7" fmla="*/ 728260 w 866990"/>
                    <a:gd name="connsiteY7" fmla="*/ 1210704 h 1433630"/>
                    <a:gd name="connsiteX8" fmla="*/ 659441 w 866990"/>
                    <a:gd name="connsiteY8" fmla="*/ 1390505 h 1433630"/>
                    <a:gd name="connsiteX9" fmla="*/ 656202 w 866990"/>
                    <a:gd name="connsiteY9" fmla="*/ 1390342 h 1433630"/>
                    <a:gd name="connsiteX10" fmla="*/ 652578 w 866990"/>
                    <a:gd name="connsiteY10" fmla="*/ 1381008 h 1433630"/>
                    <a:gd name="connsiteX11" fmla="*/ 652578 w 866990"/>
                    <a:gd name="connsiteY11" fmla="*/ 1390159 h 1433630"/>
                    <a:gd name="connsiteX12" fmla="*/ 647815 w 866990"/>
                    <a:gd name="connsiteY12" fmla="*/ 1389918 h 1433630"/>
                    <a:gd name="connsiteX13" fmla="*/ 358688 w 866990"/>
                    <a:gd name="connsiteY13" fmla="*/ 1433630 h 1433630"/>
                    <a:gd name="connsiteX14" fmla="*/ 389854 w 866990"/>
                    <a:gd name="connsiteY14" fmla="*/ 1425616 h 1433630"/>
                    <a:gd name="connsiteX15" fmla="*/ 385289 w 866990"/>
                    <a:gd name="connsiteY15" fmla="*/ 1409258 h 1433630"/>
                    <a:gd name="connsiteX16" fmla="*/ 278516 w 866990"/>
                    <a:gd name="connsiteY16" fmla="*/ 1266622 h 1433630"/>
                    <a:gd name="connsiteX17" fmla="*/ 68568 w 866990"/>
                    <a:gd name="connsiteY17" fmla="*/ 792744 h 1433630"/>
                    <a:gd name="connsiteX18" fmla="*/ 244 w 866990"/>
                    <a:gd name="connsiteY18" fmla="*/ 278963 h 1433630"/>
                    <a:gd name="connsiteX19" fmla="*/ 17719 w 866990"/>
                    <a:gd name="connsiteY19" fmla="*/ 92248 h 1433630"/>
                    <a:gd name="connsiteX20" fmla="*/ 16508 w 866990"/>
                    <a:gd name="connsiteY20" fmla="*/ 87908 h 1433630"/>
                    <a:gd name="connsiteX21" fmla="*/ 171749 w 866990"/>
                    <a:gd name="connsiteY21" fmla="*/ 47992 h 1433630"/>
                    <a:gd name="connsiteX22" fmla="*/ 647815 w 866990"/>
                    <a:gd name="connsiteY22" fmla="*/ 0 h 14336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866990" h="1433630">
                      <a:moveTo>
                        <a:pt x="647815" y="0"/>
                      </a:moveTo>
                      <a:lnTo>
                        <a:pt x="866990" y="11068"/>
                      </a:lnTo>
                      <a:lnTo>
                        <a:pt x="652578" y="241"/>
                      </a:lnTo>
                      <a:lnTo>
                        <a:pt x="652578" y="6061"/>
                      </a:lnTo>
                      <a:lnTo>
                        <a:pt x="654508" y="1018"/>
                      </a:lnTo>
                      <a:lnTo>
                        <a:pt x="725788" y="184595"/>
                      </a:lnTo>
                      <a:cubicBezTo>
                        <a:pt x="773541" y="342173"/>
                        <a:pt x="800155" y="515484"/>
                        <a:pt x="800593" y="697472"/>
                      </a:cubicBezTo>
                      <a:cubicBezTo>
                        <a:pt x="801031" y="879461"/>
                        <a:pt x="775253" y="1052897"/>
                        <a:pt x="728260" y="1210704"/>
                      </a:cubicBezTo>
                      <a:lnTo>
                        <a:pt x="659441" y="1390505"/>
                      </a:lnTo>
                      <a:lnTo>
                        <a:pt x="656202" y="1390342"/>
                      </a:lnTo>
                      <a:lnTo>
                        <a:pt x="652578" y="1381008"/>
                      </a:lnTo>
                      <a:lnTo>
                        <a:pt x="652578" y="1390159"/>
                      </a:lnTo>
                      <a:lnTo>
                        <a:pt x="647815" y="1389918"/>
                      </a:lnTo>
                      <a:cubicBezTo>
                        <a:pt x="547132" y="1389918"/>
                        <a:pt x="450023" y="1405222"/>
                        <a:pt x="358688" y="1433630"/>
                      </a:cubicBezTo>
                      <a:lnTo>
                        <a:pt x="389854" y="1425616"/>
                      </a:lnTo>
                      <a:lnTo>
                        <a:pt x="385289" y="1409258"/>
                      </a:lnTo>
                      <a:lnTo>
                        <a:pt x="278516" y="1266622"/>
                      </a:lnTo>
                      <a:cubicBezTo>
                        <a:pt x="190153" y="1127686"/>
                        <a:pt x="117922" y="967913"/>
                        <a:pt x="68568" y="792744"/>
                      </a:cubicBezTo>
                      <a:cubicBezTo>
                        <a:pt x="19214" y="617575"/>
                        <a:pt x="-2589" y="443594"/>
                        <a:pt x="244" y="278963"/>
                      </a:cubicBezTo>
                      <a:lnTo>
                        <a:pt x="17719" y="92248"/>
                      </a:lnTo>
                      <a:lnTo>
                        <a:pt x="16508" y="87908"/>
                      </a:lnTo>
                      <a:lnTo>
                        <a:pt x="171749" y="47992"/>
                      </a:lnTo>
                      <a:cubicBezTo>
                        <a:pt x="325523" y="16525"/>
                        <a:pt x="484739" y="0"/>
                        <a:pt x="647815" y="0"/>
                      </a:cubicBezTo>
                      <a:close/>
                    </a:path>
                  </a:pathLst>
                </a:custGeom>
                <a:solidFill>
                  <a:srgbClr val="D6F2E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863949"/>
                  <a:endParaRPr lang="en-US">
                    <a:solidFill>
                      <a:srgbClr val="555C6B"/>
                    </a:solidFill>
                    <a:latin typeface="Calibri"/>
                  </a:endParaRPr>
                </a:p>
              </p:txBody>
            </p:sp>
            <p:sp>
              <p:nvSpPr>
                <p:cNvPr id="5" name="Freeform: Shape 71">
                  <a:extLst>
                    <a:ext uri="{FF2B5EF4-FFF2-40B4-BE49-F238E27FC236}">
                      <a16:creationId xmlns:a16="http://schemas.microsoft.com/office/drawing/2014/main" id="{01E580DA-66F0-7E9C-C917-15C2EB69722B}"/>
                    </a:ext>
                  </a:extLst>
                </p:cNvPr>
                <p:cNvSpPr/>
                <p:nvPr/>
              </p:nvSpPr>
              <p:spPr>
                <a:xfrm>
                  <a:off x="6663784" y="2046740"/>
                  <a:ext cx="1479529" cy="1346746"/>
                </a:xfrm>
                <a:custGeom>
                  <a:avLst/>
                  <a:gdLst>
                    <a:gd name="connsiteX0" fmla="*/ 934796 w 1479529"/>
                    <a:gd name="connsiteY0" fmla="*/ 0 h 1346746"/>
                    <a:gd name="connsiteX1" fmla="*/ 1390990 w 1479529"/>
                    <a:gd name="connsiteY1" fmla="*/ 502060 h 1346746"/>
                    <a:gd name="connsiteX2" fmla="*/ 1478476 w 1479529"/>
                    <a:gd name="connsiteY2" fmla="*/ 646066 h 1346746"/>
                    <a:gd name="connsiteX3" fmla="*/ 1473789 w 1479529"/>
                    <a:gd name="connsiteY3" fmla="*/ 648779 h 1346746"/>
                    <a:gd name="connsiteX4" fmla="*/ 1479529 w 1479529"/>
                    <a:gd name="connsiteY4" fmla="*/ 647864 h 1346746"/>
                    <a:gd name="connsiteX5" fmla="*/ 1356187 w 1479529"/>
                    <a:gd name="connsiteY5" fmla="*/ 801383 h 1346746"/>
                    <a:gd name="connsiteX6" fmla="*/ 949425 w 1479529"/>
                    <a:gd name="connsiteY6" fmla="*/ 1122605 h 1346746"/>
                    <a:gd name="connsiteX7" fmla="*/ 468786 w 1479529"/>
                    <a:gd name="connsiteY7" fmla="*/ 1316578 h 1346746"/>
                    <a:gd name="connsiteX8" fmla="*/ 279499 w 1479529"/>
                    <a:gd name="connsiteY8" fmla="*/ 1346746 h 1346746"/>
                    <a:gd name="connsiteX9" fmla="*/ 277551 w 1479529"/>
                    <a:gd name="connsiteY9" fmla="*/ 1343540 h 1346746"/>
                    <a:gd name="connsiteX10" fmla="*/ 281237 w 1479529"/>
                    <a:gd name="connsiteY10" fmla="*/ 1338952 h 1346746"/>
                    <a:gd name="connsiteX11" fmla="*/ 276448 w 1479529"/>
                    <a:gd name="connsiteY11" fmla="*/ 1341724 h 1346746"/>
                    <a:gd name="connsiteX12" fmla="*/ 238449 w 1479529"/>
                    <a:gd name="connsiteY12" fmla="*/ 1279176 h 1346746"/>
                    <a:gd name="connsiteX13" fmla="*/ 119724 w 1479529"/>
                    <a:gd name="connsiteY13" fmla="*/ 1135281 h 1346746"/>
                    <a:gd name="connsiteX14" fmla="*/ 0 w 1479529"/>
                    <a:gd name="connsiteY14" fmla="*/ 1036499 h 1346746"/>
                    <a:gd name="connsiteX15" fmla="*/ 116209 w 1479529"/>
                    <a:gd name="connsiteY15" fmla="*/ 1132380 h 1346746"/>
                    <a:gd name="connsiteX16" fmla="*/ 122152 w 1479529"/>
                    <a:gd name="connsiteY16" fmla="*/ 1126298 h 1346746"/>
                    <a:gd name="connsiteX17" fmla="*/ 195489 w 1479529"/>
                    <a:gd name="connsiteY17" fmla="*/ 955047 h 1346746"/>
                    <a:gd name="connsiteX18" fmla="*/ 500905 w 1479529"/>
                    <a:gd name="connsiteY18" fmla="*/ 536288 h 1346746"/>
                    <a:gd name="connsiteX19" fmla="*/ 911690 w 1479529"/>
                    <a:gd name="connsiteY19" fmla="*/ 220227 h 1346746"/>
                    <a:gd name="connsiteX20" fmla="*/ 1085292 w 1479529"/>
                    <a:gd name="connsiteY20" fmla="*/ 140552 h 1346746"/>
                    <a:gd name="connsiteX21" fmla="*/ 1087244 w 1479529"/>
                    <a:gd name="connsiteY21" fmla="*/ 138554 h 1346746"/>
                    <a:gd name="connsiteX22" fmla="*/ 934796 w 1479529"/>
                    <a:gd name="connsiteY22" fmla="*/ 0 h 1346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479529" h="1346746">
                      <a:moveTo>
                        <a:pt x="934796" y="0"/>
                      </a:moveTo>
                      <a:cubicBezTo>
                        <a:pt x="1109793" y="144420"/>
                        <a:pt x="1263639" y="313555"/>
                        <a:pt x="1390990" y="502060"/>
                      </a:cubicBezTo>
                      <a:lnTo>
                        <a:pt x="1478476" y="646066"/>
                      </a:lnTo>
                      <a:lnTo>
                        <a:pt x="1473789" y="648779"/>
                      </a:lnTo>
                      <a:lnTo>
                        <a:pt x="1479529" y="647864"/>
                      </a:lnTo>
                      <a:lnTo>
                        <a:pt x="1356187" y="801383"/>
                      </a:lnTo>
                      <a:cubicBezTo>
                        <a:pt x="1243597" y="921528"/>
                        <a:pt x="1106812" y="1031231"/>
                        <a:pt x="949425" y="1122605"/>
                      </a:cubicBezTo>
                      <a:cubicBezTo>
                        <a:pt x="792037" y="1213978"/>
                        <a:pt x="628948" y="1278372"/>
                        <a:pt x="468786" y="1316578"/>
                      </a:cubicBezTo>
                      <a:lnTo>
                        <a:pt x="279499" y="1346746"/>
                      </a:lnTo>
                      <a:lnTo>
                        <a:pt x="277551" y="1343540"/>
                      </a:lnTo>
                      <a:lnTo>
                        <a:pt x="281237" y="1338952"/>
                      </a:lnTo>
                      <a:lnTo>
                        <a:pt x="276448" y="1341724"/>
                      </a:lnTo>
                      <a:lnTo>
                        <a:pt x="238449" y="1279176"/>
                      </a:lnTo>
                      <a:cubicBezTo>
                        <a:pt x="203504" y="1227450"/>
                        <a:pt x="163712" y="1179268"/>
                        <a:pt x="119724" y="1135281"/>
                      </a:cubicBezTo>
                      <a:lnTo>
                        <a:pt x="0" y="1036499"/>
                      </a:lnTo>
                      <a:lnTo>
                        <a:pt x="116209" y="1132380"/>
                      </a:lnTo>
                      <a:lnTo>
                        <a:pt x="122152" y="1126298"/>
                      </a:lnTo>
                      <a:lnTo>
                        <a:pt x="195489" y="955047"/>
                      </a:lnTo>
                      <a:cubicBezTo>
                        <a:pt x="271630" y="809055"/>
                        <a:pt x="373881" y="666614"/>
                        <a:pt x="500905" y="536288"/>
                      </a:cubicBezTo>
                      <a:cubicBezTo>
                        <a:pt x="627929" y="405962"/>
                        <a:pt x="767699" y="300089"/>
                        <a:pt x="911690" y="220227"/>
                      </a:cubicBezTo>
                      <a:lnTo>
                        <a:pt x="1085292" y="140552"/>
                      </a:lnTo>
                      <a:lnTo>
                        <a:pt x="1087244" y="138554"/>
                      </a:lnTo>
                      <a:lnTo>
                        <a:pt x="934796" y="0"/>
                      </a:lnTo>
                      <a:close/>
                    </a:path>
                  </a:pathLst>
                </a:custGeom>
                <a:solidFill>
                  <a:srgbClr val="D6F2E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863949"/>
                  <a:endParaRPr lang="en-US">
                    <a:solidFill>
                      <a:srgbClr val="555C6B"/>
                    </a:solidFill>
                    <a:latin typeface="Calibri"/>
                  </a:endParaRPr>
                </a:p>
              </p:txBody>
            </p:sp>
            <p:sp>
              <p:nvSpPr>
                <p:cNvPr id="11" name="Freeform: Shape 72">
                  <a:extLst>
                    <a:ext uri="{FF2B5EF4-FFF2-40B4-BE49-F238E27FC236}">
                      <a16:creationId xmlns:a16="http://schemas.microsoft.com/office/drawing/2014/main" id="{6F0BA40A-0F2D-EA63-AF37-CC8748486300}"/>
                    </a:ext>
                  </a:extLst>
                </p:cNvPr>
                <p:cNvSpPr/>
                <p:nvPr/>
              </p:nvSpPr>
              <p:spPr>
                <a:xfrm>
                  <a:off x="3733800" y="2548801"/>
                  <a:ext cx="1521882" cy="1320729"/>
                </a:xfrm>
                <a:custGeom>
                  <a:avLst/>
                  <a:gdLst>
                    <a:gd name="connsiteX0" fmla="*/ 403427 w 1521882"/>
                    <a:gd name="connsiteY0" fmla="*/ 0 h 1320729"/>
                    <a:gd name="connsiteX1" fmla="*/ 316587 w 1521882"/>
                    <a:gd name="connsiteY1" fmla="*/ 142943 h 1320729"/>
                    <a:gd name="connsiteX2" fmla="*/ 321461 w 1521882"/>
                    <a:gd name="connsiteY2" fmla="*/ 145754 h 1320729"/>
                    <a:gd name="connsiteX3" fmla="*/ 512723 w 1521882"/>
                    <a:gd name="connsiteY3" fmla="*/ 175293 h 1320729"/>
                    <a:gd name="connsiteX4" fmla="*/ 994290 w 1521882"/>
                    <a:gd name="connsiteY4" fmla="*/ 366949 h 1320729"/>
                    <a:gd name="connsiteX5" fmla="*/ 1402595 w 1521882"/>
                    <a:gd name="connsiteY5" fmla="*/ 686207 h 1320729"/>
                    <a:gd name="connsiteX6" fmla="*/ 1521882 w 1521882"/>
                    <a:gd name="connsiteY6" fmla="*/ 833223 h 1320729"/>
                    <a:gd name="connsiteX7" fmla="*/ 1507267 w 1521882"/>
                    <a:gd name="connsiteY7" fmla="*/ 857280 h 1320729"/>
                    <a:gd name="connsiteX8" fmla="*/ 1433630 w 1521882"/>
                    <a:gd name="connsiteY8" fmla="*/ 1031601 h 1320729"/>
                    <a:gd name="connsiteX9" fmla="*/ 1420877 w 1521882"/>
                    <a:gd name="connsiteY9" fmla="*/ 1081200 h 1320729"/>
                    <a:gd name="connsiteX10" fmla="*/ 1418693 w 1521882"/>
                    <a:gd name="connsiteY10" fmla="*/ 1080636 h 1320729"/>
                    <a:gd name="connsiteX11" fmla="*/ 1226149 w 1521882"/>
                    <a:gd name="connsiteY11" fmla="*/ 1103655 h 1320729"/>
                    <a:gd name="connsiteX12" fmla="*/ 710784 w 1521882"/>
                    <a:gd name="connsiteY12" fmla="*/ 1048536 h 1320729"/>
                    <a:gd name="connsiteX13" fmla="*/ 231675 w 1521882"/>
                    <a:gd name="connsiteY13" fmla="*/ 850816 h 1320729"/>
                    <a:gd name="connsiteX14" fmla="*/ 74986 w 1521882"/>
                    <a:gd name="connsiteY14" fmla="*/ 739680 h 1320729"/>
                    <a:gd name="connsiteX15" fmla="*/ 47992 w 1521882"/>
                    <a:gd name="connsiteY15" fmla="*/ 844663 h 1320729"/>
                    <a:gd name="connsiteX16" fmla="*/ 12196 w 1521882"/>
                    <a:gd name="connsiteY16" fmla="*/ 1079208 h 1320729"/>
                    <a:gd name="connsiteX17" fmla="*/ 0 w 1521882"/>
                    <a:gd name="connsiteY17" fmla="*/ 1320729 h 1320729"/>
                    <a:gd name="connsiteX18" fmla="*/ 0 w 1521882"/>
                    <a:gd name="connsiteY18" fmla="*/ 1320728 h 1320729"/>
                    <a:gd name="connsiteX19" fmla="*/ 403427 w 1521882"/>
                    <a:gd name="connsiteY19" fmla="*/ 0 h 1320729"/>
                    <a:gd name="connsiteX20" fmla="*/ 76434 w 1521882"/>
                    <a:gd name="connsiteY20" fmla="*/ 734047 h 1320729"/>
                    <a:gd name="connsiteX21" fmla="*/ 75852 w 1521882"/>
                    <a:gd name="connsiteY21" fmla="*/ 736312 h 1320729"/>
                    <a:gd name="connsiteX22" fmla="*/ 82247 w 1521882"/>
                    <a:gd name="connsiteY22" fmla="*/ 735548 h 1320729"/>
                    <a:gd name="connsiteX23" fmla="*/ 76434 w 1521882"/>
                    <a:gd name="connsiteY23" fmla="*/ 734047 h 13207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521882" h="1320729">
                      <a:moveTo>
                        <a:pt x="403427" y="0"/>
                      </a:moveTo>
                      <a:lnTo>
                        <a:pt x="316587" y="142943"/>
                      </a:lnTo>
                      <a:lnTo>
                        <a:pt x="321461" y="145754"/>
                      </a:lnTo>
                      <a:lnTo>
                        <a:pt x="512723" y="175293"/>
                      </a:lnTo>
                      <a:cubicBezTo>
                        <a:pt x="673066" y="212727"/>
                        <a:pt x="836464" y="276334"/>
                        <a:pt x="994290" y="366949"/>
                      </a:cubicBezTo>
                      <a:cubicBezTo>
                        <a:pt x="1152115" y="457564"/>
                        <a:pt x="1289427" y="566607"/>
                        <a:pt x="1402595" y="686207"/>
                      </a:cubicBezTo>
                      <a:lnTo>
                        <a:pt x="1521882" y="833223"/>
                      </a:lnTo>
                      <a:lnTo>
                        <a:pt x="1507267" y="857280"/>
                      </a:lnTo>
                      <a:cubicBezTo>
                        <a:pt x="1477332" y="912387"/>
                        <a:pt x="1452569" y="970711"/>
                        <a:pt x="1433630" y="1031601"/>
                      </a:cubicBezTo>
                      <a:lnTo>
                        <a:pt x="1420877" y="1081200"/>
                      </a:lnTo>
                      <a:lnTo>
                        <a:pt x="1418693" y="1080636"/>
                      </a:lnTo>
                      <a:lnTo>
                        <a:pt x="1226149" y="1103655"/>
                      </a:lnTo>
                      <a:cubicBezTo>
                        <a:pt x="1061645" y="1110711"/>
                        <a:pt x="887162" y="1093379"/>
                        <a:pt x="710784" y="1048536"/>
                      </a:cubicBezTo>
                      <a:cubicBezTo>
                        <a:pt x="534407" y="1003693"/>
                        <a:pt x="372833" y="935585"/>
                        <a:pt x="231675" y="850816"/>
                      </a:cubicBezTo>
                      <a:lnTo>
                        <a:pt x="74986" y="739680"/>
                      </a:lnTo>
                      <a:lnTo>
                        <a:pt x="47992" y="844663"/>
                      </a:lnTo>
                      <a:cubicBezTo>
                        <a:pt x="32259" y="921550"/>
                        <a:pt x="20261" y="999798"/>
                        <a:pt x="12196" y="1079208"/>
                      </a:cubicBezTo>
                      <a:lnTo>
                        <a:pt x="0" y="1320729"/>
                      </a:lnTo>
                      <a:lnTo>
                        <a:pt x="0" y="1320728"/>
                      </a:lnTo>
                      <a:cubicBezTo>
                        <a:pt x="0" y="831501"/>
                        <a:pt x="148724" y="377009"/>
                        <a:pt x="403427" y="0"/>
                      </a:cubicBezTo>
                      <a:close/>
                      <a:moveTo>
                        <a:pt x="76434" y="734047"/>
                      </a:moveTo>
                      <a:lnTo>
                        <a:pt x="75852" y="736312"/>
                      </a:lnTo>
                      <a:lnTo>
                        <a:pt x="82247" y="735548"/>
                      </a:lnTo>
                      <a:lnTo>
                        <a:pt x="76434" y="734047"/>
                      </a:lnTo>
                      <a:close/>
                    </a:path>
                  </a:pathLst>
                </a:custGeom>
                <a:solidFill>
                  <a:srgbClr val="D6F2E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863949"/>
                  <a:endParaRPr lang="en-US">
                    <a:solidFill>
                      <a:srgbClr val="555C6B"/>
                    </a:solidFill>
                    <a:latin typeface="Calibri"/>
                  </a:endParaRPr>
                </a:p>
              </p:txBody>
            </p:sp>
            <p:sp>
              <p:nvSpPr>
                <p:cNvPr id="12" name="Freeform: Shape 73">
                  <a:extLst>
                    <a:ext uri="{FF2B5EF4-FFF2-40B4-BE49-F238E27FC236}">
                      <a16:creationId xmlns:a16="http://schemas.microsoft.com/office/drawing/2014/main" id="{7EE536A3-4F33-92AB-7B2B-24A72EB674C7}"/>
                    </a:ext>
                  </a:extLst>
                </p:cNvPr>
                <p:cNvSpPr/>
                <p:nvPr/>
              </p:nvSpPr>
              <p:spPr>
                <a:xfrm>
                  <a:off x="6934718" y="3491065"/>
                  <a:ext cx="1447922" cy="1557030"/>
                </a:xfrm>
                <a:custGeom>
                  <a:avLst/>
                  <a:gdLst>
                    <a:gd name="connsiteX0" fmla="*/ 57153 w 1447922"/>
                    <a:gd name="connsiteY0" fmla="*/ 0 h 1557030"/>
                    <a:gd name="connsiteX1" fmla="*/ 57158 w 1447922"/>
                    <a:gd name="connsiteY1" fmla="*/ 8 h 1557030"/>
                    <a:gd name="connsiteX2" fmla="*/ 133565 w 1447922"/>
                    <a:gd name="connsiteY2" fmla="*/ 378464 h 1557030"/>
                    <a:gd name="connsiteX3" fmla="*/ 113812 w 1447922"/>
                    <a:gd name="connsiteY3" fmla="*/ 574413 h 1557030"/>
                    <a:gd name="connsiteX4" fmla="*/ 102511 w 1447922"/>
                    <a:gd name="connsiteY4" fmla="*/ 618362 h 1557030"/>
                    <a:gd name="connsiteX5" fmla="*/ 293583 w 1447922"/>
                    <a:gd name="connsiteY5" fmla="*/ 595519 h 1557030"/>
                    <a:gd name="connsiteX6" fmla="*/ 808948 w 1447922"/>
                    <a:gd name="connsiteY6" fmla="*/ 650638 h 1557030"/>
                    <a:gd name="connsiteX7" fmla="*/ 1288057 w 1447922"/>
                    <a:gd name="connsiteY7" fmla="*/ 848358 h 1557030"/>
                    <a:gd name="connsiteX8" fmla="*/ 1447922 w 1447922"/>
                    <a:gd name="connsiteY8" fmla="*/ 961746 h 1557030"/>
                    <a:gd name="connsiteX9" fmla="*/ 1447754 w 1447922"/>
                    <a:gd name="connsiteY9" fmla="*/ 962399 h 1557030"/>
                    <a:gd name="connsiteX10" fmla="*/ 1435058 w 1447922"/>
                    <a:gd name="connsiteY10" fmla="*/ 963917 h 1557030"/>
                    <a:gd name="connsiteX11" fmla="*/ 1446604 w 1447922"/>
                    <a:gd name="connsiteY11" fmla="*/ 966872 h 1557030"/>
                    <a:gd name="connsiteX12" fmla="*/ 1417282 w 1447922"/>
                    <a:gd name="connsiteY12" fmla="*/ 1080909 h 1557030"/>
                    <a:gd name="connsiteX13" fmla="*/ 1238377 w 1447922"/>
                    <a:gd name="connsiteY13" fmla="*/ 1504428 h 1557030"/>
                    <a:gd name="connsiteX14" fmla="*/ 1206421 w 1447922"/>
                    <a:gd name="connsiteY14" fmla="*/ 1557030 h 1557030"/>
                    <a:gd name="connsiteX15" fmla="*/ 1200835 w 1447922"/>
                    <a:gd name="connsiteY15" fmla="*/ 1553817 h 1557030"/>
                    <a:gd name="connsiteX16" fmla="*/ 1007010 w 1447922"/>
                    <a:gd name="connsiteY16" fmla="*/ 1523882 h 1557030"/>
                    <a:gd name="connsiteX17" fmla="*/ 525443 w 1447922"/>
                    <a:gd name="connsiteY17" fmla="*/ 1332225 h 1557030"/>
                    <a:gd name="connsiteX18" fmla="*/ 117138 w 1447922"/>
                    <a:gd name="connsiteY18" fmla="*/ 1012967 h 1557030"/>
                    <a:gd name="connsiteX19" fmla="*/ 0 w 1447922"/>
                    <a:gd name="connsiteY19" fmla="*/ 868601 h 1557030"/>
                    <a:gd name="connsiteX20" fmla="*/ 16215 w 1447922"/>
                    <a:gd name="connsiteY20" fmla="*/ 841911 h 1557030"/>
                    <a:gd name="connsiteX21" fmla="*/ 133564 w 1447922"/>
                    <a:gd name="connsiteY21" fmla="*/ 378463 h 1557030"/>
                    <a:gd name="connsiteX22" fmla="*/ 57157 w 1447922"/>
                    <a:gd name="connsiteY22" fmla="*/ 7 h 1557030"/>
                    <a:gd name="connsiteX23" fmla="*/ 57153 w 1447922"/>
                    <a:gd name="connsiteY23" fmla="*/ 0 h 1557030"/>
                    <a:gd name="connsiteX24" fmla="*/ 101706 w 1447922"/>
                    <a:gd name="connsiteY24" fmla="*/ 621492 h 1557030"/>
                    <a:gd name="connsiteX25" fmla="*/ 101419 w 1447922"/>
                    <a:gd name="connsiteY25" fmla="*/ 622610 h 1557030"/>
                    <a:gd name="connsiteX26" fmla="*/ 104335 w 1447922"/>
                    <a:gd name="connsiteY26" fmla="*/ 623356 h 1557030"/>
                    <a:gd name="connsiteX27" fmla="*/ 101706 w 1447922"/>
                    <a:gd name="connsiteY27" fmla="*/ 621492 h 15570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447922" h="1557030">
                      <a:moveTo>
                        <a:pt x="57153" y="0"/>
                      </a:moveTo>
                      <a:lnTo>
                        <a:pt x="57158" y="8"/>
                      </a:lnTo>
                      <a:cubicBezTo>
                        <a:pt x="106358" y="116330"/>
                        <a:pt x="133565" y="244220"/>
                        <a:pt x="133565" y="378464"/>
                      </a:cubicBezTo>
                      <a:cubicBezTo>
                        <a:pt x="133565" y="445586"/>
                        <a:pt x="126763" y="511120"/>
                        <a:pt x="113812" y="574413"/>
                      </a:cubicBezTo>
                      <a:lnTo>
                        <a:pt x="102511" y="618362"/>
                      </a:lnTo>
                      <a:lnTo>
                        <a:pt x="293583" y="595519"/>
                      </a:lnTo>
                      <a:cubicBezTo>
                        <a:pt x="458087" y="588463"/>
                        <a:pt x="632570" y="605795"/>
                        <a:pt x="808948" y="650638"/>
                      </a:cubicBezTo>
                      <a:cubicBezTo>
                        <a:pt x="985326" y="695481"/>
                        <a:pt x="1146899" y="763590"/>
                        <a:pt x="1288057" y="848358"/>
                      </a:cubicBezTo>
                      <a:lnTo>
                        <a:pt x="1447922" y="961746"/>
                      </a:lnTo>
                      <a:lnTo>
                        <a:pt x="1447754" y="962399"/>
                      </a:lnTo>
                      <a:lnTo>
                        <a:pt x="1435058" y="963917"/>
                      </a:lnTo>
                      <a:lnTo>
                        <a:pt x="1446604" y="966872"/>
                      </a:lnTo>
                      <a:lnTo>
                        <a:pt x="1417282" y="1080909"/>
                      </a:lnTo>
                      <a:cubicBezTo>
                        <a:pt x="1371270" y="1228844"/>
                        <a:pt x="1311107" y="1370545"/>
                        <a:pt x="1238377" y="1504428"/>
                      </a:cubicBezTo>
                      <a:lnTo>
                        <a:pt x="1206421" y="1557030"/>
                      </a:lnTo>
                      <a:lnTo>
                        <a:pt x="1200835" y="1553817"/>
                      </a:lnTo>
                      <a:lnTo>
                        <a:pt x="1007010" y="1523882"/>
                      </a:lnTo>
                      <a:cubicBezTo>
                        <a:pt x="846666" y="1486447"/>
                        <a:pt x="683268" y="1422840"/>
                        <a:pt x="525443" y="1332225"/>
                      </a:cubicBezTo>
                      <a:cubicBezTo>
                        <a:pt x="367617" y="1241611"/>
                        <a:pt x="230306" y="1132568"/>
                        <a:pt x="117138" y="1012967"/>
                      </a:cubicBezTo>
                      <a:lnTo>
                        <a:pt x="0" y="868601"/>
                      </a:lnTo>
                      <a:lnTo>
                        <a:pt x="16215" y="841911"/>
                      </a:lnTo>
                      <a:cubicBezTo>
                        <a:pt x="91054" y="704145"/>
                        <a:pt x="133564" y="546268"/>
                        <a:pt x="133564" y="378463"/>
                      </a:cubicBezTo>
                      <a:cubicBezTo>
                        <a:pt x="133564" y="244219"/>
                        <a:pt x="106357" y="116329"/>
                        <a:pt x="57157" y="7"/>
                      </a:cubicBezTo>
                      <a:lnTo>
                        <a:pt x="57153" y="0"/>
                      </a:lnTo>
                      <a:close/>
                      <a:moveTo>
                        <a:pt x="101706" y="621492"/>
                      </a:moveTo>
                      <a:lnTo>
                        <a:pt x="101419" y="622610"/>
                      </a:lnTo>
                      <a:lnTo>
                        <a:pt x="104335" y="623356"/>
                      </a:lnTo>
                      <a:lnTo>
                        <a:pt x="101706" y="621492"/>
                      </a:lnTo>
                      <a:close/>
                    </a:path>
                  </a:pathLst>
                </a:custGeom>
                <a:solidFill>
                  <a:srgbClr val="D6F2E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863949"/>
                  <a:endParaRPr lang="en-US">
                    <a:solidFill>
                      <a:srgbClr val="555C6B"/>
                    </a:solidFill>
                    <a:latin typeface="Calibri"/>
                  </a:endParaRPr>
                </a:p>
              </p:txBody>
            </p:sp>
            <p:sp>
              <p:nvSpPr>
                <p:cNvPr id="13" name="Freeform: Shape 74">
                  <a:extLst>
                    <a:ext uri="{FF2B5EF4-FFF2-40B4-BE49-F238E27FC236}">
                      <a16:creationId xmlns:a16="http://schemas.microsoft.com/office/drawing/2014/main" id="{2CD8064E-6D8B-F0F3-03AC-7BE570DA6A91}"/>
                    </a:ext>
                  </a:extLst>
                </p:cNvPr>
                <p:cNvSpPr/>
                <p:nvPr/>
              </p:nvSpPr>
              <p:spPr>
                <a:xfrm>
                  <a:off x="4051505" y="4357631"/>
                  <a:ext cx="1367762" cy="1334727"/>
                </a:xfrm>
                <a:custGeom>
                  <a:avLst/>
                  <a:gdLst>
                    <a:gd name="connsiteX0" fmla="*/ 1204540 w 1367762"/>
                    <a:gd name="connsiteY0" fmla="*/ 0 h 1334727"/>
                    <a:gd name="connsiteX1" fmla="*/ 1204939 w 1367762"/>
                    <a:gd name="connsiteY1" fmla="*/ 657 h 1334727"/>
                    <a:gd name="connsiteX2" fmla="*/ 1204843 w 1367762"/>
                    <a:gd name="connsiteY2" fmla="*/ 775 h 1334727"/>
                    <a:gd name="connsiteX3" fmla="*/ 1204968 w 1367762"/>
                    <a:gd name="connsiteY3" fmla="*/ 704 h 1334727"/>
                    <a:gd name="connsiteX4" fmla="*/ 1238263 w 1367762"/>
                    <a:gd name="connsiteY4" fmla="*/ 55510 h 1334727"/>
                    <a:gd name="connsiteX5" fmla="*/ 1356988 w 1367762"/>
                    <a:gd name="connsiteY5" fmla="*/ 199405 h 1334727"/>
                    <a:gd name="connsiteX6" fmla="*/ 1367762 w 1367762"/>
                    <a:gd name="connsiteY6" fmla="*/ 208294 h 1334727"/>
                    <a:gd name="connsiteX7" fmla="*/ 1359186 w 1367762"/>
                    <a:gd name="connsiteY7" fmla="*/ 216998 h 1334727"/>
                    <a:gd name="connsiteX8" fmla="*/ 1283549 w 1367762"/>
                    <a:gd name="connsiteY8" fmla="*/ 392534 h 1334727"/>
                    <a:gd name="connsiteX9" fmla="*/ 977198 w 1367762"/>
                    <a:gd name="connsiteY9" fmla="*/ 810610 h 1334727"/>
                    <a:gd name="connsiteX10" fmla="*/ 565707 w 1367762"/>
                    <a:gd name="connsiteY10" fmla="*/ 1125752 h 1334727"/>
                    <a:gd name="connsiteX11" fmla="*/ 396816 w 1367762"/>
                    <a:gd name="connsiteY11" fmla="*/ 1202809 h 1334727"/>
                    <a:gd name="connsiteX12" fmla="*/ 541918 w 1367762"/>
                    <a:gd name="connsiteY12" fmla="*/ 1334687 h 1334727"/>
                    <a:gd name="connsiteX13" fmla="*/ 541971 w 1367762"/>
                    <a:gd name="connsiteY13" fmla="*/ 1334727 h 1334727"/>
                    <a:gd name="connsiteX14" fmla="*/ 541916 w 1367762"/>
                    <a:gd name="connsiteY14" fmla="*/ 1334686 h 1334727"/>
                    <a:gd name="connsiteX15" fmla="*/ 85722 w 1367762"/>
                    <a:gd name="connsiteY15" fmla="*/ 832626 h 1334727"/>
                    <a:gd name="connsiteX16" fmla="*/ 0 w 1367762"/>
                    <a:gd name="connsiteY16" fmla="*/ 691524 h 1334727"/>
                    <a:gd name="connsiteX17" fmla="*/ 5808 w 1367762"/>
                    <a:gd name="connsiteY17" fmla="*/ 688194 h 1334727"/>
                    <a:gd name="connsiteX18" fmla="*/ 122509 w 1367762"/>
                    <a:gd name="connsiteY18" fmla="*/ 543603 h 1334727"/>
                    <a:gd name="connsiteX19" fmla="*/ 529989 w 1367762"/>
                    <a:gd name="connsiteY19" fmla="*/ 223292 h 1334727"/>
                    <a:gd name="connsiteX20" fmla="*/ 1011059 w 1367762"/>
                    <a:gd name="connsiteY20" fmla="*/ 30393 h 1334727"/>
                    <a:gd name="connsiteX21" fmla="*/ 1204540 w 1367762"/>
                    <a:gd name="connsiteY21" fmla="*/ 0 h 13347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367762" h="1334727">
                      <a:moveTo>
                        <a:pt x="1204540" y="0"/>
                      </a:moveTo>
                      <a:lnTo>
                        <a:pt x="1204939" y="657"/>
                      </a:lnTo>
                      <a:lnTo>
                        <a:pt x="1204843" y="775"/>
                      </a:lnTo>
                      <a:lnTo>
                        <a:pt x="1204968" y="704"/>
                      </a:lnTo>
                      <a:lnTo>
                        <a:pt x="1238263" y="55510"/>
                      </a:lnTo>
                      <a:cubicBezTo>
                        <a:pt x="1273209" y="107236"/>
                        <a:pt x="1313001" y="155419"/>
                        <a:pt x="1356988" y="199405"/>
                      </a:cubicBezTo>
                      <a:lnTo>
                        <a:pt x="1367762" y="208294"/>
                      </a:lnTo>
                      <a:lnTo>
                        <a:pt x="1359186" y="216998"/>
                      </a:lnTo>
                      <a:lnTo>
                        <a:pt x="1283549" y="392534"/>
                      </a:lnTo>
                      <a:cubicBezTo>
                        <a:pt x="1207082" y="538356"/>
                        <a:pt x="1104513" y="680568"/>
                        <a:pt x="977198" y="810610"/>
                      </a:cubicBezTo>
                      <a:cubicBezTo>
                        <a:pt x="849883" y="940652"/>
                        <a:pt x="709876" y="1046212"/>
                        <a:pt x="565707" y="1125752"/>
                      </a:cubicBezTo>
                      <a:lnTo>
                        <a:pt x="396816" y="1202809"/>
                      </a:lnTo>
                      <a:lnTo>
                        <a:pt x="541918" y="1334687"/>
                      </a:lnTo>
                      <a:lnTo>
                        <a:pt x="541971" y="1334727"/>
                      </a:lnTo>
                      <a:lnTo>
                        <a:pt x="541916" y="1334686"/>
                      </a:lnTo>
                      <a:cubicBezTo>
                        <a:pt x="366919" y="1190266"/>
                        <a:pt x="213073" y="1021131"/>
                        <a:pt x="85722" y="832626"/>
                      </a:cubicBezTo>
                      <a:lnTo>
                        <a:pt x="0" y="691524"/>
                      </a:lnTo>
                      <a:lnTo>
                        <a:pt x="5808" y="688194"/>
                      </a:lnTo>
                      <a:lnTo>
                        <a:pt x="122509" y="543603"/>
                      </a:lnTo>
                      <a:cubicBezTo>
                        <a:pt x="235368" y="423711"/>
                        <a:pt x="372397" y="314314"/>
                        <a:pt x="529989" y="223292"/>
                      </a:cubicBezTo>
                      <a:cubicBezTo>
                        <a:pt x="687580" y="132270"/>
                        <a:pt x="850813" y="68241"/>
                        <a:pt x="1011059" y="30393"/>
                      </a:cubicBezTo>
                      <a:lnTo>
                        <a:pt x="1204540" y="0"/>
                      </a:lnTo>
                      <a:close/>
                    </a:path>
                  </a:pathLst>
                </a:custGeom>
                <a:solidFill>
                  <a:srgbClr val="D6F2E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863949"/>
                  <a:endParaRPr lang="en-US">
                    <a:solidFill>
                      <a:srgbClr val="555C6B"/>
                    </a:solidFill>
                    <a:latin typeface="Calibri"/>
                  </a:endParaRPr>
                </a:p>
              </p:txBody>
            </p:sp>
            <p:sp>
              <p:nvSpPr>
                <p:cNvPr id="14" name="Freeform: Shape 75">
                  <a:extLst>
                    <a:ext uri="{FF2B5EF4-FFF2-40B4-BE49-F238E27FC236}">
                      <a16:creationId xmlns:a16="http://schemas.microsoft.com/office/drawing/2014/main" id="{68AFFEFF-280B-64D1-26D4-31D7A0C35B48}"/>
                    </a:ext>
                  </a:extLst>
                </p:cNvPr>
                <p:cNvSpPr/>
                <p:nvPr/>
              </p:nvSpPr>
              <p:spPr>
                <a:xfrm>
                  <a:off x="5956274" y="4798090"/>
                  <a:ext cx="800597" cy="1433398"/>
                </a:xfrm>
                <a:custGeom>
                  <a:avLst/>
                  <a:gdLst>
                    <a:gd name="connsiteX0" fmla="*/ 428878 w 800597"/>
                    <a:gd name="connsiteY0" fmla="*/ 0 h 1433398"/>
                    <a:gd name="connsiteX1" fmla="*/ 428854 w 800597"/>
                    <a:gd name="connsiteY1" fmla="*/ 9 h 1433398"/>
                    <a:gd name="connsiteX2" fmla="*/ 404267 w 800597"/>
                    <a:gd name="connsiteY2" fmla="*/ 6332 h 1433398"/>
                    <a:gd name="connsiteX3" fmla="*/ 522082 w 800597"/>
                    <a:gd name="connsiteY3" fmla="*/ 163718 h 1433398"/>
                    <a:gd name="connsiteX4" fmla="*/ 732030 w 800597"/>
                    <a:gd name="connsiteY4" fmla="*/ 637597 h 1433398"/>
                    <a:gd name="connsiteX5" fmla="*/ 800354 w 800597"/>
                    <a:gd name="connsiteY5" fmla="*/ 1151377 h 1433398"/>
                    <a:gd name="connsiteX6" fmla="*/ 782439 w 800597"/>
                    <a:gd name="connsiteY6" fmla="*/ 1342798 h 1433398"/>
                    <a:gd name="connsiteX7" fmla="*/ 779152 w 800597"/>
                    <a:gd name="connsiteY7" fmla="*/ 1343643 h 1433398"/>
                    <a:gd name="connsiteX8" fmla="*/ 768204 w 800597"/>
                    <a:gd name="connsiteY8" fmla="*/ 1329017 h 1433398"/>
                    <a:gd name="connsiteX9" fmla="*/ 772712 w 800597"/>
                    <a:gd name="connsiteY9" fmla="*/ 1345299 h 1433398"/>
                    <a:gd name="connsiteX10" fmla="*/ 615793 w 800597"/>
                    <a:gd name="connsiteY10" fmla="*/ 1385646 h 1433398"/>
                    <a:gd name="connsiteX11" fmla="*/ 381248 w 800597"/>
                    <a:gd name="connsiteY11" fmla="*/ 1421442 h 1433398"/>
                    <a:gd name="connsiteX12" fmla="*/ 144491 w 800597"/>
                    <a:gd name="connsiteY12" fmla="*/ 1433398 h 1433398"/>
                    <a:gd name="connsiteX13" fmla="*/ 144491 w 800597"/>
                    <a:gd name="connsiteY13" fmla="*/ 1425204 h 1433398"/>
                    <a:gd name="connsiteX14" fmla="*/ 74810 w 800597"/>
                    <a:gd name="connsiteY14" fmla="*/ 1245745 h 1433398"/>
                    <a:gd name="connsiteX15" fmla="*/ 6 w 800597"/>
                    <a:gd name="connsiteY15" fmla="*/ 732868 h 1433398"/>
                    <a:gd name="connsiteX16" fmla="*/ 72339 w 800597"/>
                    <a:gd name="connsiteY16" fmla="*/ 219636 h 1433398"/>
                    <a:gd name="connsiteX17" fmla="*/ 139673 w 800597"/>
                    <a:gd name="connsiteY17" fmla="*/ 43717 h 1433398"/>
                    <a:gd name="connsiteX18" fmla="*/ 139727 w 800597"/>
                    <a:gd name="connsiteY18" fmla="*/ 43720 h 1433398"/>
                    <a:gd name="connsiteX19" fmla="*/ 428854 w 800597"/>
                    <a:gd name="connsiteY19" fmla="*/ 8 h 1433398"/>
                    <a:gd name="connsiteX20" fmla="*/ 428878 w 800597"/>
                    <a:gd name="connsiteY20" fmla="*/ 0 h 1433398"/>
                    <a:gd name="connsiteX21" fmla="*/ 404038 w 800597"/>
                    <a:gd name="connsiteY21" fmla="*/ 6390 h 1433398"/>
                    <a:gd name="connsiteX22" fmla="*/ 402156 w 800597"/>
                    <a:gd name="connsiteY22" fmla="*/ 6874 h 1433398"/>
                    <a:gd name="connsiteX23" fmla="*/ 403529 w 800597"/>
                    <a:gd name="connsiteY23" fmla="*/ 11831 h 1433398"/>
                    <a:gd name="connsiteX24" fmla="*/ 404038 w 800597"/>
                    <a:gd name="connsiteY24" fmla="*/ 6390 h 14333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800597" h="1433398">
                      <a:moveTo>
                        <a:pt x="428878" y="0"/>
                      </a:moveTo>
                      <a:lnTo>
                        <a:pt x="428854" y="9"/>
                      </a:lnTo>
                      <a:lnTo>
                        <a:pt x="404267" y="6332"/>
                      </a:lnTo>
                      <a:lnTo>
                        <a:pt x="522082" y="163718"/>
                      </a:lnTo>
                      <a:cubicBezTo>
                        <a:pt x="610444" y="302655"/>
                        <a:pt x="682676" y="462427"/>
                        <a:pt x="732030" y="637597"/>
                      </a:cubicBezTo>
                      <a:cubicBezTo>
                        <a:pt x="781383" y="812766"/>
                        <a:pt x="803187" y="986747"/>
                        <a:pt x="800354" y="1151377"/>
                      </a:cubicBezTo>
                      <a:lnTo>
                        <a:pt x="782439" y="1342798"/>
                      </a:lnTo>
                      <a:lnTo>
                        <a:pt x="779152" y="1343643"/>
                      </a:lnTo>
                      <a:lnTo>
                        <a:pt x="768204" y="1329017"/>
                      </a:lnTo>
                      <a:lnTo>
                        <a:pt x="772712" y="1345299"/>
                      </a:lnTo>
                      <a:lnTo>
                        <a:pt x="615793" y="1385646"/>
                      </a:lnTo>
                      <a:cubicBezTo>
                        <a:pt x="538906" y="1401380"/>
                        <a:pt x="460659" y="1413378"/>
                        <a:pt x="381248" y="1421442"/>
                      </a:cubicBezTo>
                      <a:lnTo>
                        <a:pt x="144491" y="1433398"/>
                      </a:lnTo>
                      <a:lnTo>
                        <a:pt x="144491" y="1425204"/>
                      </a:lnTo>
                      <a:lnTo>
                        <a:pt x="74810" y="1245745"/>
                      </a:lnTo>
                      <a:cubicBezTo>
                        <a:pt x="27057" y="1088167"/>
                        <a:pt x="444" y="914856"/>
                        <a:pt x="6" y="732868"/>
                      </a:cubicBezTo>
                      <a:cubicBezTo>
                        <a:pt x="-433" y="550880"/>
                        <a:pt x="25346" y="377443"/>
                        <a:pt x="72339" y="219636"/>
                      </a:cubicBezTo>
                      <a:lnTo>
                        <a:pt x="139673" y="43717"/>
                      </a:lnTo>
                      <a:lnTo>
                        <a:pt x="139727" y="43720"/>
                      </a:lnTo>
                      <a:cubicBezTo>
                        <a:pt x="240410" y="43720"/>
                        <a:pt x="337519" y="28417"/>
                        <a:pt x="428854" y="8"/>
                      </a:cubicBezTo>
                      <a:lnTo>
                        <a:pt x="428878" y="0"/>
                      </a:lnTo>
                      <a:close/>
                      <a:moveTo>
                        <a:pt x="404038" y="6390"/>
                      </a:moveTo>
                      <a:lnTo>
                        <a:pt x="402156" y="6874"/>
                      </a:lnTo>
                      <a:lnTo>
                        <a:pt x="403529" y="11831"/>
                      </a:lnTo>
                      <a:lnTo>
                        <a:pt x="404038" y="6390"/>
                      </a:lnTo>
                      <a:close/>
                    </a:path>
                  </a:pathLst>
                </a:custGeom>
                <a:solidFill>
                  <a:srgbClr val="D6F2E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863949"/>
                  <a:endParaRPr lang="en-US">
                    <a:solidFill>
                      <a:srgbClr val="555C6B"/>
                    </a:solidFill>
                    <a:latin typeface="Calibri"/>
                  </a:endParaRPr>
                </a:p>
              </p:txBody>
            </p:sp>
            <p:sp>
              <p:nvSpPr>
                <p:cNvPr id="15" name="Freeform: Shape 76">
                  <a:extLst>
                    <a:ext uri="{FF2B5EF4-FFF2-40B4-BE49-F238E27FC236}">
                      <a16:creationId xmlns:a16="http://schemas.microsoft.com/office/drawing/2014/main" id="{31C87C3C-428D-EAA1-23FB-35DBBC8103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59960" y="1507569"/>
                  <a:ext cx="1794493" cy="1675247"/>
                </a:xfrm>
                <a:custGeom>
                  <a:avLst/>
                  <a:gdLst>
                    <a:gd name="connsiteX0" fmla="*/ 1000768 w 1794493"/>
                    <a:gd name="connsiteY0" fmla="*/ 1593104 h 1675247"/>
                    <a:gd name="connsiteX1" fmla="*/ 821788 w 1794493"/>
                    <a:gd name="connsiteY1" fmla="*/ 1675247 h 1675247"/>
                    <a:gd name="connsiteX2" fmla="*/ 821789 w 1794493"/>
                    <a:gd name="connsiteY2" fmla="*/ 1675246 h 1675247"/>
                    <a:gd name="connsiteX3" fmla="*/ 1341893 w 1794493"/>
                    <a:gd name="connsiteY3" fmla="*/ 1343569 h 1675247"/>
                    <a:gd name="connsiteX4" fmla="*/ 1314028 w 1794493"/>
                    <a:gd name="connsiteY4" fmla="*/ 1370179 h 1675247"/>
                    <a:gd name="connsiteX5" fmla="*/ 1000768 w 1794493"/>
                    <a:gd name="connsiteY5" fmla="*/ 1593104 h 1675247"/>
                    <a:gd name="connsiteX6" fmla="*/ 1314028 w 1794493"/>
                    <a:gd name="connsiteY6" fmla="*/ 1370179 h 1675247"/>
                    <a:gd name="connsiteX7" fmla="*/ 1794493 w 1794493"/>
                    <a:gd name="connsiteY7" fmla="*/ 677255 h 1675247"/>
                    <a:gd name="connsiteX8" fmla="*/ 1716970 w 1794493"/>
                    <a:gd name="connsiteY8" fmla="*/ 858284 h 1675247"/>
                    <a:gd name="connsiteX9" fmla="*/ 1665319 w 1794493"/>
                    <a:gd name="connsiteY9" fmla="*/ 948863 h 1675247"/>
                    <a:gd name="connsiteX10" fmla="*/ 1716970 w 1794493"/>
                    <a:gd name="connsiteY10" fmla="*/ 858284 h 1675247"/>
                    <a:gd name="connsiteX11" fmla="*/ 1794493 w 1794493"/>
                    <a:gd name="connsiteY11" fmla="*/ 677255 h 1675247"/>
                    <a:gd name="connsiteX12" fmla="*/ 245786 w 1794493"/>
                    <a:gd name="connsiteY12" fmla="*/ 305377 h 1675247"/>
                    <a:gd name="connsiteX13" fmla="*/ 288818 w 1794493"/>
                    <a:gd name="connsiteY13" fmla="*/ 697231 h 1675247"/>
                    <a:gd name="connsiteX14" fmla="*/ 245786 w 1794493"/>
                    <a:gd name="connsiteY14" fmla="*/ 305377 h 1675247"/>
                    <a:gd name="connsiteX15" fmla="*/ 140803 w 1794493"/>
                    <a:gd name="connsiteY15" fmla="*/ 0 h 1675247"/>
                    <a:gd name="connsiteX16" fmla="*/ 377562 w 1794493"/>
                    <a:gd name="connsiteY16" fmla="*/ 11955 h 1675247"/>
                    <a:gd name="connsiteX17" fmla="*/ 1638619 w 1794493"/>
                    <a:gd name="connsiteY17" fmla="*/ 539171 h 1675247"/>
                    <a:gd name="connsiteX18" fmla="*/ 1791067 w 1794493"/>
                    <a:gd name="connsiteY18" fmla="*/ 677725 h 1675247"/>
                    <a:gd name="connsiteX19" fmla="*/ 1789115 w 1794493"/>
                    <a:gd name="connsiteY19" fmla="*/ 679723 h 1675247"/>
                    <a:gd name="connsiteX20" fmla="*/ 1615513 w 1794493"/>
                    <a:gd name="connsiteY20" fmla="*/ 759398 h 1675247"/>
                    <a:gd name="connsiteX21" fmla="*/ 1204728 w 1794493"/>
                    <a:gd name="connsiteY21" fmla="*/ 1075459 h 1675247"/>
                    <a:gd name="connsiteX22" fmla="*/ 899312 w 1794493"/>
                    <a:gd name="connsiteY22" fmla="*/ 1494218 h 1675247"/>
                    <a:gd name="connsiteX23" fmla="*/ 825974 w 1794493"/>
                    <a:gd name="connsiteY23" fmla="*/ 1665472 h 1675247"/>
                    <a:gd name="connsiteX24" fmla="*/ 820032 w 1794493"/>
                    <a:gd name="connsiteY24" fmla="*/ 1671551 h 1675247"/>
                    <a:gd name="connsiteX25" fmla="*/ 679653 w 1794493"/>
                    <a:gd name="connsiteY25" fmla="*/ 1555728 h 1675247"/>
                    <a:gd name="connsiteX26" fmla="*/ 235451 w 1794493"/>
                    <a:gd name="connsiteY26" fmla="*/ 1394697 h 1675247"/>
                    <a:gd name="connsiteX27" fmla="*/ 147665 w 1794493"/>
                    <a:gd name="connsiteY27" fmla="*/ 1390265 h 1675247"/>
                    <a:gd name="connsiteX28" fmla="*/ 216485 w 1794493"/>
                    <a:gd name="connsiteY28" fmla="*/ 1210463 h 1675247"/>
                    <a:gd name="connsiteX29" fmla="*/ 146089 w 1794493"/>
                    <a:gd name="connsiteY29" fmla="*/ 1394381 h 1675247"/>
                    <a:gd name="connsiteX30" fmla="*/ 141369 w 1794493"/>
                    <a:gd name="connsiteY30" fmla="*/ 1382225 h 1675247"/>
                    <a:gd name="connsiteX31" fmla="*/ 144427 w 1794493"/>
                    <a:gd name="connsiteY31" fmla="*/ 1390101 h 1675247"/>
                    <a:gd name="connsiteX32" fmla="*/ 140803 w 1794493"/>
                    <a:gd name="connsiteY32" fmla="*/ 1389918 h 1675247"/>
                    <a:gd name="connsiteX33" fmla="*/ 140803 w 1794493"/>
                    <a:gd name="connsiteY33" fmla="*/ 1380767 h 1675247"/>
                    <a:gd name="connsiteX34" fmla="*/ 74810 w 1794493"/>
                    <a:gd name="connsiteY34" fmla="*/ 1210804 h 1675247"/>
                    <a:gd name="connsiteX35" fmla="*/ 5 w 1794493"/>
                    <a:gd name="connsiteY35" fmla="*/ 697927 h 1675247"/>
                    <a:gd name="connsiteX36" fmla="*/ 72338 w 1794493"/>
                    <a:gd name="connsiteY36" fmla="*/ 184695 h 1675247"/>
                    <a:gd name="connsiteX37" fmla="*/ 140803 w 1794493"/>
                    <a:gd name="connsiteY37" fmla="*/ 5820 h 16752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1794493" h="1675247">
                      <a:moveTo>
                        <a:pt x="1000768" y="1593104"/>
                      </a:moveTo>
                      <a:lnTo>
                        <a:pt x="821788" y="1675247"/>
                      </a:lnTo>
                      <a:lnTo>
                        <a:pt x="821789" y="1675246"/>
                      </a:lnTo>
                      <a:close/>
                      <a:moveTo>
                        <a:pt x="1341893" y="1343569"/>
                      </a:moveTo>
                      <a:lnTo>
                        <a:pt x="1314028" y="1370179"/>
                      </a:lnTo>
                      <a:cubicBezTo>
                        <a:pt x="1214380" y="1458680"/>
                        <a:pt x="1108761" y="1533208"/>
                        <a:pt x="1000768" y="1593104"/>
                      </a:cubicBezTo>
                      <a:cubicBezTo>
                        <a:pt x="1108761" y="1533208"/>
                        <a:pt x="1214380" y="1458680"/>
                        <a:pt x="1314028" y="1370179"/>
                      </a:cubicBezTo>
                      <a:close/>
                      <a:moveTo>
                        <a:pt x="1794493" y="677255"/>
                      </a:moveTo>
                      <a:lnTo>
                        <a:pt x="1716970" y="858284"/>
                      </a:lnTo>
                      <a:lnTo>
                        <a:pt x="1665319" y="948863"/>
                      </a:lnTo>
                      <a:lnTo>
                        <a:pt x="1716970" y="858284"/>
                      </a:lnTo>
                      <a:lnTo>
                        <a:pt x="1794493" y="677255"/>
                      </a:lnTo>
                      <a:close/>
                      <a:moveTo>
                        <a:pt x="245786" y="305377"/>
                      </a:moveTo>
                      <a:cubicBezTo>
                        <a:pt x="273437" y="429130"/>
                        <a:pt x="288489" y="560740"/>
                        <a:pt x="288818" y="697231"/>
                      </a:cubicBezTo>
                      <a:cubicBezTo>
                        <a:pt x="288490" y="560740"/>
                        <a:pt x="273437" y="429130"/>
                        <a:pt x="245786" y="305377"/>
                      </a:cubicBezTo>
                      <a:close/>
                      <a:moveTo>
                        <a:pt x="140803" y="0"/>
                      </a:moveTo>
                      <a:lnTo>
                        <a:pt x="377562" y="11955"/>
                      </a:lnTo>
                      <a:cubicBezTo>
                        <a:pt x="854023" y="60342"/>
                        <a:pt x="1288624" y="250329"/>
                        <a:pt x="1638619" y="539171"/>
                      </a:cubicBezTo>
                      <a:lnTo>
                        <a:pt x="1791067" y="677725"/>
                      </a:lnTo>
                      <a:lnTo>
                        <a:pt x="1789115" y="679723"/>
                      </a:lnTo>
                      <a:lnTo>
                        <a:pt x="1615513" y="759398"/>
                      </a:lnTo>
                      <a:cubicBezTo>
                        <a:pt x="1471522" y="839260"/>
                        <a:pt x="1331752" y="945133"/>
                        <a:pt x="1204728" y="1075459"/>
                      </a:cubicBezTo>
                      <a:cubicBezTo>
                        <a:pt x="1077704" y="1205785"/>
                        <a:pt x="975453" y="1348226"/>
                        <a:pt x="899312" y="1494218"/>
                      </a:cubicBezTo>
                      <a:lnTo>
                        <a:pt x="825974" y="1665472"/>
                      </a:lnTo>
                      <a:lnTo>
                        <a:pt x="820032" y="1671551"/>
                      </a:lnTo>
                      <a:lnTo>
                        <a:pt x="679653" y="1555728"/>
                      </a:lnTo>
                      <a:cubicBezTo>
                        <a:pt x="550338" y="1468365"/>
                        <a:pt x="398877" y="1411294"/>
                        <a:pt x="235451" y="1394697"/>
                      </a:cubicBezTo>
                      <a:lnTo>
                        <a:pt x="147665" y="1390265"/>
                      </a:lnTo>
                      <a:lnTo>
                        <a:pt x="216485" y="1210463"/>
                      </a:lnTo>
                      <a:lnTo>
                        <a:pt x="146089" y="1394381"/>
                      </a:lnTo>
                      <a:lnTo>
                        <a:pt x="141369" y="1382225"/>
                      </a:lnTo>
                      <a:lnTo>
                        <a:pt x="144427" y="1390101"/>
                      </a:lnTo>
                      <a:lnTo>
                        <a:pt x="140803" y="1389918"/>
                      </a:lnTo>
                      <a:lnTo>
                        <a:pt x="140803" y="1380767"/>
                      </a:lnTo>
                      <a:lnTo>
                        <a:pt x="74810" y="1210804"/>
                      </a:lnTo>
                      <a:cubicBezTo>
                        <a:pt x="27057" y="1053226"/>
                        <a:pt x="443" y="879915"/>
                        <a:pt x="5" y="697927"/>
                      </a:cubicBezTo>
                      <a:cubicBezTo>
                        <a:pt x="-433" y="515938"/>
                        <a:pt x="25345" y="342502"/>
                        <a:pt x="72338" y="184695"/>
                      </a:cubicBezTo>
                      <a:lnTo>
                        <a:pt x="140803" y="5820"/>
                      </a:lnTo>
                      <a:close/>
                    </a:path>
                  </a:pathLst>
                </a:custGeom>
                <a:solidFill>
                  <a:srgbClr val="3FBE80"/>
                </a:solidFill>
                <a:ln>
                  <a:noFill/>
                </a:ln>
              </p:spPr>
              <p:txBody>
                <a:bodyPr vert="horz" wrap="square" lIns="91439" tIns="45719" rIns="91439" bIns="4571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863949"/>
                  <a:endParaRPr lang="en-US">
                    <a:solidFill>
                      <a:srgbClr val="555C6B"/>
                    </a:solidFill>
                    <a:latin typeface="Calibri"/>
                  </a:endParaRPr>
                </a:p>
              </p:txBody>
            </p:sp>
            <p:sp>
              <p:nvSpPr>
                <p:cNvPr id="16" name="Freeform: Shape 77">
                  <a:extLst>
                    <a:ext uri="{FF2B5EF4-FFF2-40B4-BE49-F238E27FC236}">
                      <a16:creationId xmlns:a16="http://schemas.microsoft.com/office/drawing/2014/main" id="{B944DB91-B311-492E-D3B3-3F3C1B6208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7150" y="2692806"/>
                  <a:ext cx="1521051" cy="1783924"/>
                </a:xfrm>
                <a:custGeom>
                  <a:avLst/>
                  <a:gdLst>
                    <a:gd name="connsiteX0" fmla="*/ 1445323 w 1521051"/>
                    <a:gd name="connsiteY0" fmla="*/ 1760658 h 1783924"/>
                    <a:gd name="connsiteX1" fmla="*/ 1444173 w 1521051"/>
                    <a:gd name="connsiteY1" fmla="*/ 1765131 h 1783924"/>
                    <a:gd name="connsiteX2" fmla="*/ 1432626 w 1521051"/>
                    <a:gd name="connsiteY2" fmla="*/ 1762176 h 1783924"/>
                    <a:gd name="connsiteX3" fmla="*/ 1446252 w 1521051"/>
                    <a:gd name="connsiteY3" fmla="*/ 1760547 h 1783924"/>
                    <a:gd name="connsiteX4" fmla="*/ 1446253 w 1521051"/>
                    <a:gd name="connsiteY4" fmla="*/ 1760547 h 1783924"/>
                    <a:gd name="connsiteX5" fmla="*/ 1445323 w 1521051"/>
                    <a:gd name="connsiteY5" fmla="*/ 1760658 h 1783924"/>
                    <a:gd name="connsiteX6" fmla="*/ 1445323 w 1521051"/>
                    <a:gd name="connsiteY6" fmla="*/ 1760658 h 1783924"/>
                    <a:gd name="connsiteX7" fmla="*/ 1432626 w 1521051"/>
                    <a:gd name="connsiteY7" fmla="*/ 1762176 h 1783924"/>
                    <a:gd name="connsiteX8" fmla="*/ 1432626 w 1521051"/>
                    <a:gd name="connsiteY8" fmla="*/ 1762176 h 1783924"/>
                    <a:gd name="connsiteX9" fmla="*/ 1250716 w 1521051"/>
                    <a:gd name="connsiteY9" fmla="*/ 1783924 h 1783924"/>
                    <a:gd name="connsiteX10" fmla="*/ 256242 w 1521051"/>
                    <a:gd name="connsiteY10" fmla="*/ 1531085 h 1783924"/>
                    <a:gd name="connsiteX11" fmla="*/ 735351 w 1521051"/>
                    <a:gd name="connsiteY11" fmla="*/ 1728805 h 1783924"/>
                    <a:gd name="connsiteX12" fmla="*/ 256242 w 1521051"/>
                    <a:gd name="connsiteY12" fmla="*/ 1531085 h 1783924"/>
                    <a:gd name="connsiteX13" fmla="*/ 95614 w 1521051"/>
                    <a:gd name="connsiteY13" fmla="*/ 1417155 h 1783924"/>
                    <a:gd name="connsiteX14" fmla="*/ 256242 w 1521051"/>
                    <a:gd name="connsiteY14" fmla="*/ 1531085 h 1783924"/>
                    <a:gd name="connsiteX15" fmla="*/ 101902 w 1521051"/>
                    <a:gd name="connsiteY15" fmla="*/ 1421615 h 1783924"/>
                    <a:gd name="connsiteX16" fmla="*/ 98987 w 1521051"/>
                    <a:gd name="connsiteY16" fmla="*/ 1420869 h 1783924"/>
                    <a:gd name="connsiteX17" fmla="*/ 99274 w 1521051"/>
                    <a:gd name="connsiteY17" fmla="*/ 1419751 h 1783924"/>
                    <a:gd name="connsiteX18" fmla="*/ 100303 w 1521051"/>
                    <a:gd name="connsiteY18" fmla="*/ 1420481 h 1783924"/>
                    <a:gd name="connsiteX19" fmla="*/ 99274 w 1521051"/>
                    <a:gd name="connsiteY19" fmla="*/ 1419751 h 1783924"/>
                    <a:gd name="connsiteX20" fmla="*/ 99274 w 1521051"/>
                    <a:gd name="connsiteY20" fmla="*/ 1419751 h 1783924"/>
                    <a:gd name="connsiteX21" fmla="*/ 95614 w 1521051"/>
                    <a:gd name="connsiteY21" fmla="*/ 1417155 h 1783924"/>
                    <a:gd name="connsiteX22" fmla="*/ 587467 w 1521051"/>
                    <a:gd name="connsiteY22" fmla="*/ 1407991 h 1783924"/>
                    <a:gd name="connsiteX23" fmla="*/ 587469 w 1521051"/>
                    <a:gd name="connsiteY23" fmla="*/ 1407991 h 1783924"/>
                    <a:gd name="connsiteX24" fmla="*/ 630825 w 1521051"/>
                    <a:gd name="connsiteY24" fmla="*/ 1414145 h 1783924"/>
                    <a:gd name="connsiteX25" fmla="*/ 630826 w 1521051"/>
                    <a:gd name="connsiteY25" fmla="*/ 1414145 h 1783924"/>
                    <a:gd name="connsiteX26" fmla="*/ 993897 w 1521051"/>
                    <a:gd name="connsiteY26" fmla="*/ 243345 h 1783924"/>
                    <a:gd name="connsiteX27" fmla="*/ 676058 w 1521051"/>
                    <a:gd name="connsiteY27" fmla="*/ 476539 h 1783924"/>
                    <a:gd name="connsiteX28" fmla="*/ 993897 w 1521051"/>
                    <a:gd name="connsiteY28" fmla="*/ 243345 h 1783924"/>
                    <a:gd name="connsiteX29" fmla="*/ 1205110 w 1521051"/>
                    <a:gd name="connsiteY29" fmla="*/ 0 h 1783924"/>
                    <a:gd name="connsiteX30" fmla="*/ 1235946 w 1521051"/>
                    <a:gd name="connsiteY30" fmla="*/ 50758 h 1783924"/>
                    <a:gd name="connsiteX31" fmla="*/ 1521051 w 1521051"/>
                    <a:gd name="connsiteY31" fmla="*/ 1176723 h 1783924"/>
                    <a:gd name="connsiteX32" fmla="*/ 1473060 w 1521051"/>
                    <a:gd name="connsiteY32" fmla="*/ 1652789 h 1783924"/>
                    <a:gd name="connsiteX33" fmla="*/ 1445491 w 1521051"/>
                    <a:gd name="connsiteY33" fmla="*/ 1760006 h 1783924"/>
                    <a:gd name="connsiteX34" fmla="*/ 1285625 w 1521051"/>
                    <a:gd name="connsiteY34" fmla="*/ 1646617 h 1783924"/>
                    <a:gd name="connsiteX35" fmla="*/ 806516 w 1521051"/>
                    <a:gd name="connsiteY35" fmla="*/ 1448897 h 1783924"/>
                    <a:gd name="connsiteX36" fmla="*/ 674714 w 1521051"/>
                    <a:gd name="connsiteY36" fmla="*/ 1420374 h 1783924"/>
                    <a:gd name="connsiteX37" fmla="*/ 630825 w 1521051"/>
                    <a:gd name="connsiteY37" fmla="*/ 1414145 h 1783924"/>
                    <a:gd name="connsiteX38" fmla="*/ 609317 w 1521051"/>
                    <a:gd name="connsiteY38" fmla="*/ 1409891 h 1783924"/>
                    <a:gd name="connsiteX39" fmla="*/ 587469 w 1521051"/>
                    <a:gd name="connsiteY39" fmla="*/ 1407991 h 1783924"/>
                    <a:gd name="connsiteX40" fmla="*/ 544381 w 1521051"/>
                    <a:gd name="connsiteY40" fmla="*/ 1401876 h 1783924"/>
                    <a:gd name="connsiteX41" fmla="*/ 291151 w 1521051"/>
                    <a:gd name="connsiteY41" fmla="*/ 1393778 h 1783924"/>
                    <a:gd name="connsiteX42" fmla="*/ 353554 w 1521051"/>
                    <a:gd name="connsiteY42" fmla="*/ 1393444 h 1783924"/>
                    <a:gd name="connsiteX43" fmla="*/ 291151 w 1521051"/>
                    <a:gd name="connsiteY43" fmla="*/ 1393778 h 1783924"/>
                    <a:gd name="connsiteX44" fmla="*/ 210463 w 1521051"/>
                    <a:gd name="connsiteY44" fmla="*/ 1403425 h 1783924"/>
                    <a:gd name="connsiteX45" fmla="*/ 100079 w 1521051"/>
                    <a:gd name="connsiteY45" fmla="*/ 1416621 h 1783924"/>
                    <a:gd name="connsiteX46" fmla="*/ 111380 w 1521051"/>
                    <a:gd name="connsiteY46" fmla="*/ 1372672 h 1783924"/>
                    <a:gd name="connsiteX47" fmla="*/ 131133 w 1521051"/>
                    <a:gd name="connsiteY47" fmla="*/ 1176723 h 1783924"/>
                    <a:gd name="connsiteX48" fmla="*/ 54726 w 1521051"/>
                    <a:gd name="connsiteY48" fmla="*/ 798267 h 1783924"/>
                    <a:gd name="connsiteX49" fmla="*/ 2106 w 1521051"/>
                    <a:gd name="connsiteY49" fmla="*/ 701322 h 1783924"/>
                    <a:gd name="connsiteX50" fmla="*/ 195419 w 1521051"/>
                    <a:gd name="connsiteY50" fmla="*/ 670512 h 1783924"/>
                    <a:gd name="connsiteX51" fmla="*/ 944 w 1521051"/>
                    <a:gd name="connsiteY51" fmla="*/ 701507 h 1783924"/>
                    <a:gd name="connsiteX52" fmla="*/ 1698 w 1521051"/>
                    <a:gd name="connsiteY52" fmla="*/ 700569 h 1783924"/>
                    <a:gd name="connsiteX53" fmla="*/ 0 w 1521051"/>
                    <a:gd name="connsiteY53" fmla="*/ 697441 h 1783924"/>
                    <a:gd name="connsiteX54" fmla="*/ 7870 w 1521051"/>
                    <a:gd name="connsiteY54" fmla="*/ 692886 h 1783924"/>
                    <a:gd name="connsiteX55" fmla="*/ 5871 w 1521051"/>
                    <a:gd name="connsiteY55" fmla="*/ 695374 h 1783924"/>
                    <a:gd name="connsiteX56" fmla="*/ 7870 w 1521051"/>
                    <a:gd name="connsiteY56" fmla="*/ 692886 h 1783924"/>
                    <a:gd name="connsiteX57" fmla="*/ 7870 w 1521051"/>
                    <a:gd name="connsiteY57" fmla="*/ 692886 h 1783924"/>
                    <a:gd name="connsiteX58" fmla="*/ 124287 w 1521051"/>
                    <a:gd name="connsiteY58" fmla="*/ 547989 h 1783924"/>
                    <a:gd name="connsiteX59" fmla="*/ 531049 w 1521051"/>
                    <a:gd name="connsiteY59" fmla="*/ 226768 h 1783924"/>
                    <a:gd name="connsiteX60" fmla="*/ 1011688 w 1521051"/>
                    <a:gd name="connsiteY60" fmla="*/ 32794 h 1783924"/>
                    <a:gd name="connsiteX61" fmla="*/ 1200422 w 1521051"/>
                    <a:gd name="connsiteY61" fmla="*/ 2713 h 1783924"/>
                    <a:gd name="connsiteX62" fmla="*/ 1200422 w 1521051"/>
                    <a:gd name="connsiteY62" fmla="*/ 2713 h 1783924"/>
                    <a:gd name="connsiteX63" fmla="*/ 1206162 w 1521051"/>
                    <a:gd name="connsiteY63" fmla="*/ 1798 h 1783924"/>
                    <a:gd name="connsiteX64" fmla="*/ 1200422 w 1521051"/>
                    <a:gd name="connsiteY64" fmla="*/ 2713 h 17839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</a:cxnLst>
                  <a:rect l="l" t="t" r="r" b="b"/>
                  <a:pathLst>
                    <a:path w="1521051" h="1783924">
                      <a:moveTo>
                        <a:pt x="1445323" y="1760658"/>
                      </a:moveTo>
                      <a:lnTo>
                        <a:pt x="1444173" y="1765131"/>
                      </a:lnTo>
                      <a:lnTo>
                        <a:pt x="1432626" y="1762176"/>
                      </a:lnTo>
                      <a:close/>
                      <a:moveTo>
                        <a:pt x="1446252" y="1760547"/>
                      </a:moveTo>
                      <a:lnTo>
                        <a:pt x="1446253" y="1760547"/>
                      </a:lnTo>
                      <a:lnTo>
                        <a:pt x="1445323" y="1760658"/>
                      </a:lnTo>
                      <a:lnTo>
                        <a:pt x="1445323" y="1760658"/>
                      </a:lnTo>
                      <a:lnTo>
                        <a:pt x="1432626" y="1762176"/>
                      </a:lnTo>
                      <a:lnTo>
                        <a:pt x="1432626" y="1762176"/>
                      </a:lnTo>
                      <a:lnTo>
                        <a:pt x="1250716" y="1783924"/>
                      </a:lnTo>
                      <a:close/>
                      <a:moveTo>
                        <a:pt x="256242" y="1531085"/>
                      </a:moveTo>
                      <a:cubicBezTo>
                        <a:pt x="397400" y="1615854"/>
                        <a:pt x="558973" y="1683962"/>
                        <a:pt x="735351" y="1728805"/>
                      </a:cubicBezTo>
                      <a:cubicBezTo>
                        <a:pt x="558973" y="1683962"/>
                        <a:pt x="397400" y="1615854"/>
                        <a:pt x="256242" y="1531085"/>
                      </a:cubicBezTo>
                      <a:close/>
                      <a:moveTo>
                        <a:pt x="95614" y="1417155"/>
                      </a:moveTo>
                      <a:lnTo>
                        <a:pt x="256242" y="1531085"/>
                      </a:lnTo>
                      <a:lnTo>
                        <a:pt x="101902" y="1421615"/>
                      </a:lnTo>
                      <a:lnTo>
                        <a:pt x="98987" y="1420869"/>
                      </a:lnTo>
                      <a:lnTo>
                        <a:pt x="99274" y="1419751"/>
                      </a:lnTo>
                      <a:lnTo>
                        <a:pt x="100303" y="1420481"/>
                      </a:lnTo>
                      <a:lnTo>
                        <a:pt x="99274" y="1419751"/>
                      </a:lnTo>
                      <a:lnTo>
                        <a:pt x="99274" y="1419751"/>
                      </a:lnTo>
                      <a:lnTo>
                        <a:pt x="95614" y="1417155"/>
                      </a:lnTo>
                      <a:close/>
                      <a:moveTo>
                        <a:pt x="587467" y="1407991"/>
                      </a:moveTo>
                      <a:lnTo>
                        <a:pt x="587469" y="1407991"/>
                      </a:lnTo>
                      <a:lnTo>
                        <a:pt x="630825" y="1414145"/>
                      </a:lnTo>
                      <a:lnTo>
                        <a:pt x="630826" y="1414145"/>
                      </a:lnTo>
                      <a:close/>
                      <a:moveTo>
                        <a:pt x="993897" y="243345"/>
                      </a:moveTo>
                      <a:cubicBezTo>
                        <a:pt x="900550" y="329168"/>
                        <a:pt x="794098" y="408008"/>
                        <a:pt x="676058" y="476539"/>
                      </a:cubicBezTo>
                      <a:cubicBezTo>
                        <a:pt x="794098" y="408009"/>
                        <a:pt x="900550" y="329168"/>
                        <a:pt x="993897" y="243345"/>
                      </a:cubicBezTo>
                      <a:close/>
                      <a:moveTo>
                        <a:pt x="1205110" y="0"/>
                      </a:moveTo>
                      <a:lnTo>
                        <a:pt x="1235946" y="50758"/>
                      </a:lnTo>
                      <a:cubicBezTo>
                        <a:pt x="1417770" y="385466"/>
                        <a:pt x="1521051" y="769033"/>
                        <a:pt x="1521051" y="1176723"/>
                      </a:cubicBezTo>
                      <a:cubicBezTo>
                        <a:pt x="1521051" y="1339799"/>
                        <a:pt x="1504526" y="1499015"/>
                        <a:pt x="1473060" y="1652789"/>
                      </a:cubicBezTo>
                      <a:lnTo>
                        <a:pt x="1445491" y="1760006"/>
                      </a:lnTo>
                      <a:lnTo>
                        <a:pt x="1285625" y="1646617"/>
                      </a:lnTo>
                      <a:cubicBezTo>
                        <a:pt x="1144467" y="1561849"/>
                        <a:pt x="982894" y="1493740"/>
                        <a:pt x="806516" y="1448897"/>
                      </a:cubicBezTo>
                      <a:cubicBezTo>
                        <a:pt x="762422" y="1437686"/>
                        <a:pt x="718445" y="1428195"/>
                        <a:pt x="674714" y="1420374"/>
                      </a:cubicBezTo>
                      <a:lnTo>
                        <a:pt x="630825" y="1414145"/>
                      </a:lnTo>
                      <a:lnTo>
                        <a:pt x="609317" y="1409891"/>
                      </a:lnTo>
                      <a:lnTo>
                        <a:pt x="587469" y="1407991"/>
                      </a:lnTo>
                      <a:lnTo>
                        <a:pt x="544381" y="1401876"/>
                      </a:lnTo>
                      <a:cubicBezTo>
                        <a:pt x="458150" y="1392819"/>
                        <a:pt x="373403" y="1390250"/>
                        <a:pt x="291151" y="1393778"/>
                      </a:cubicBezTo>
                      <a:lnTo>
                        <a:pt x="353554" y="1393444"/>
                      </a:lnTo>
                      <a:lnTo>
                        <a:pt x="291151" y="1393778"/>
                      </a:lnTo>
                      <a:lnTo>
                        <a:pt x="210463" y="1403425"/>
                      </a:lnTo>
                      <a:lnTo>
                        <a:pt x="100079" y="1416621"/>
                      </a:lnTo>
                      <a:lnTo>
                        <a:pt x="111380" y="1372672"/>
                      </a:lnTo>
                      <a:cubicBezTo>
                        <a:pt x="124331" y="1309379"/>
                        <a:pt x="131133" y="1243845"/>
                        <a:pt x="131133" y="1176723"/>
                      </a:cubicBezTo>
                      <a:cubicBezTo>
                        <a:pt x="131133" y="1042479"/>
                        <a:pt x="103926" y="914589"/>
                        <a:pt x="54726" y="798267"/>
                      </a:cubicBezTo>
                      <a:lnTo>
                        <a:pt x="2106" y="701322"/>
                      </a:lnTo>
                      <a:lnTo>
                        <a:pt x="195419" y="670512"/>
                      </a:lnTo>
                      <a:lnTo>
                        <a:pt x="944" y="701507"/>
                      </a:lnTo>
                      <a:lnTo>
                        <a:pt x="1698" y="700569"/>
                      </a:lnTo>
                      <a:lnTo>
                        <a:pt x="0" y="697441"/>
                      </a:lnTo>
                      <a:lnTo>
                        <a:pt x="7870" y="692886"/>
                      </a:lnTo>
                      <a:lnTo>
                        <a:pt x="5871" y="695374"/>
                      </a:lnTo>
                      <a:lnTo>
                        <a:pt x="7870" y="692886"/>
                      </a:lnTo>
                      <a:lnTo>
                        <a:pt x="7870" y="692886"/>
                      </a:lnTo>
                      <a:lnTo>
                        <a:pt x="124287" y="547989"/>
                      </a:lnTo>
                      <a:cubicBezTo>
                        <a:pt x="236877" y="427845"/>
                        <a:pt x="373662" y="318141"/>
                        <a:pt x="531049" y="226768"/>
                      </a:cubicBezTo>
                      <a:cubicBezTo>
                        <a:pt x="688437" y="135394"/>
                        <a:pt x="851526" y="71000"/>
                        <a:pt x="1011688" y="32794"/>
                      </a:cubicBezTo>
                      <a:lnTo>
                        <a:pt x="1200422" y="2713"/>
                      </a:lnTo>
                      <a:lnTo>
                        <a:pt x="1200422" y="2713"/>
                      </a:lnTo>
                      <a:lnTo>
                        <a:pt x="1206162" y="1798"/>
                      </a:lnTo>
                      <a:lnTo>
                        <a:pt x="1200422" y="2713"/>
                      </a:lnTo>
                      <a:close/>
                    </a:path>
                  </a:pathLst>
                </a:custGeom>
                <a:solidFill>
                  <a:srgbClr val="3FBE80"/>
                </a:solidFill>
                <a:ln>
                  <a:noFill/>
                </a:ln>
              </p:spPr>
              <p:txBody>
                <a:bodyPr vert="horz" wrap="square" lIns="91439" tIns="45719" rIns="91439" bIns="4571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863949"/>
                  <a:endParaRPr lang="en-US">
                    <a:solidFill>
                      <a:srgbClr val="555C6B"/>
                    </a:solidFill>
                    <a:latin typeface="Calibri"/>
                  </a:endParaRPr>
                </a:p>
              </p:txBody>
            </p:sp>
            <p:sp>
              <p:nvSpPr>
                <p:cNvPr id="17" name="Freeform: Shape 78">
                  <a:extLst>
                    <a:ext uri="{FF2B5EF4-FFF2-40B4-BE49-F238E27FC236}">
                      <a16:creationId xmlns:a16="http://schemas.microsoft.com/office/drawing/2014/main" id="{8A522AB0-0659-DF09-678A-ED10ADC5E8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41745" y="4351109"/>
                  <a:ext cx="1799394" cy="1794431"/>
                </a:xfrm>
                <a:custGeom>
                  <a:avLst/>
                  <a:gdLst>
                    <a:gd name="connsiteX0" fmla="*/ 325816 w 1799394"/>
                    <a:gd name="connsiteY0" fmla="*/ 1699966 h 1794431"/>
                    <a:gd name="connsiteX1" fmla="*/ 388733 w 1799394"/>
                    <a:gd name="connsiteY1" fmla="*/ 1784014 h 1794431"/>
                    <a:gd name="connsiteX2" fmla="*/ 393681 w 1799394"/>
                    <a:gd name="connsiteY2" fmla="*/ 1790625 h 1794431"/>
                    <a:gd name="connsiteX3" fmla="*/ 387240 w 1799394"/>
                    <a:gd name="connsiteY3" fmla="*/ 1792281 h 1794431"/>
                    <a:gd name="connsiteX4" fmla="*/ 382732 w 1799394"/>
                    <a:gd name="connsiteY4" fmla="*/ 1775999 h 1794431"/>
                    <a:gd name="connsiteX5" fmla="*/ 9081 w 1799394"/>
                    <a:gd name="connsiteY5" fmla="*/ 554706 h 1794431"/>
                    <a:gd name="connsiteX6" fmla="*/ 244 w 1799394"/>
                    <a:gd name="connsiteY6" fmla="*/ 649120 h 1794431"/>
                    <a:gd name="connsiteX7" fmla="*/ 14836 w 1799394"/>
                    <a:gd name="connsiteY7" fmla="*/ 902059 h 1794431"/>
                    <a:gd name="connsiteX8" fmla="*/ 33258 w 1799394"/>
                    <a:gd name="connsiteY8" fmla="*/ 1011574 h 1794431"/>
                    <a:gd name="connsiteX9" fmla="*/ 14836 w 1799394"/>
                    <a:gd name="connsiteY9" fmla="*/ 902059 h 1794431"/>
                    <a:gd name="connsiteX10" fmla="*/ 243 w 1799394"/>
                    <a:gd name="connsiteY10" fmla="*/ 649120 h 1794431"/>
                    <a:gd name="connsiteX11" fmla="*/ 18566 w 1799394"/>
                    <a:gd name="connsiteY11" fmla="*/ 453371 h 1794431"/>
                    <a:gd name="connsiteX12" fmla="*/ 18057 w 1799394"/>
                    <a:gd name="connsiteY12" fmla="*/ 458810 h 1794431"/>
                    <a:gd name="connsiteX13" fmla="*/ 16684 w 1799394"/>
                    <a:gd name="connsiteY13" fmla="*/ 453855 h 1794431"/>
                    <a:gd name="connsiteX14" fmla="*/ 586030 w 1799394"/>
                    <a:gd name="connsiteY14" fmla="*/ 0 h 1794431"/>
                    <a:gd name="connsiteX15" fmla="*/ 780652 w 1799394"/>
                    <a:gd name="connsiteY15" fmla="*/ 30059 h 1794431"/>
                    <a:gd name="connsiteX16" fmla="*/ 1262219 w 1799394"/>
                    <a:gd name="connsiteY16" fmla="*/ 221715 h 1794431"/>
                    <a:gd name="connsiteX17" fmla="*/ 1670524 w 1799394"/>
                    <a:gd name="connsiteY17" fmla="*/ 540973 h 1794431"/>
                    <a:gd name="connsiteX18" fmla="*/ 1794605 w 1799394"/>
                    <a:gd name="connsiteY18" fmla="*/ 693896 h 1794431"/>
                    <a:gd name="connsiteX19" fmla="*/ 1599983 w 1799394"/>
                    <a:gd name="connsiteY19" fmla="*/ 663838 h 1794431"/>
                    <a:gd name="connsiteX20" fmla="*/ 1793808 w 1799394"/>
                    <a:gd name="connsiteY20" fmla="*/ 693773 h 1794431"/>
                    <a:gd name="connsiteX21" fmla="*/ 1799394 w 1799394"/>
                    <a:gd name="connsiteY21" fmla="*/ 696986 h 1794431"/>
                    <a:gd name="connsiteX22" fmla="*/ 1713028 w 1799394"/>
                    <a:gd name="connsiteY22" fmla="*/ 839149 h 1794431"/>
                    <a:gd name="connsiteX23" fmla="*/ 456701 w 1799394"/>
                    <a:gd name="connsiteY23" fmla="*/ 1774420 h 1794431"/>
                    <a:gd name="connsiteX24" fmla="*/ 396966 w 1799394"/>
                    <a:gd name="connsiteY24" fmla="*/ 1789781 h 1794431"/>
                    <a:gd name="connsiteX25" fmla="*/ 414882 w 1799394"/>
                    <a:gd name="connsiteY25" fmla="*/ 1598358 h 1794431"/>
                    <a:gd name="connsiteX26" fmla="*/ 396530 w 1799394"/>
                    <a:gd name="connsiteY26" fmla="*/ 1794431 h 1794431"/>
                    <a:gd name="connsiteX27" fmla="*/ 388883 w 1799394"/>
                    <a:gd name="connsiteY27" fmla="*/ 1784215 h 1794431"/>
                    <a:gd name="connsiteX28" fmla="*/ 396530 w 1799394"/>
                    <a:gd name="connsiteY28" fmla="*/ 1794431 h 1794431"/>
                    <a:gd name="connsiteX29" fmla="*/ 414882 w 1799394"/>
                    <a:gd name="connsiteY29" fmla="*/ 1598358 h 1794431"/>
                    <a:gd name="connsiteX30" fmla="*/ 346558 w 1799394"/>
                    <a:gd name="connsiteY30" fmla="*/ 1084578 h 1794431"/>
                    <a:gd name="connsiteX31" fmla="*/ 136610 w 1799394"/>
                    <a:gd name="connsiteY31" fmla="*/ 610699 h 1794431"/>
                    <a:gd name="connsiteX32" fmla="*/ 45988 w 1799394"/>
                    <a:gd name="connsiteY32" fmla="*/ 489639 h 1794431"/>
                    <a:gd name="connsiteX33" fmla="*/ 18795 w 1799394"/>
                    <a:gd name="connsiteY33" fmla="*/ 453313 h 1794431"/>
                    <a:gd name="connsiteX34" fmla="*/ 43382 w 1799394"/>
                    <a:gd name="connsiteY34" fmla="*/ 446990 h 1794431"/>
                    <a:gd name="connsiteX35" fmla="*/ 560487 w 1799394"/>
                    <a:gd name="connsiteY35" fmla="*/ 62032 h 1794431"/>
                    <a:gd name="connsiteX36" fmla="*/ 592973 w 1799394"/>
                    <a:gd name="connsiteY36" fmla="*/ 8557 h 1794431"/>
                    <a:gd name="connsiteX37" fmla="*/ 710111 w 1799394"/>
                    <a:gd name="connsiteY37" fmla="*/ 152923 h 1794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1799394" h="1794431">
                      <a:moveTo>
                        <a:pt x="325816" y="1699966"/>
                      </a:moveTo>
                      <a:lnTo>
                        <a:pt x="388733" y="1784014"/>
                      </a:lnTo>
                      <a:lnTo>
                        <a:pt x="393681" y="1790625"/>
                      </a:lnTo>
                      <a:lnTo>
                        <a:pt x="387240" y="1792281"/>
                      </a:lnTo>
                      <a:lnTo>
                        <a:pt x="382732" y="1775999"/>
                      </a:lnTo>
                      <a:close/>
                      <a:moveTo>
                        <a:pt x="9081" y="554706"/>
                      </a:moveTo>
                      <a:lnTo>
                        <a:pt x="244" y="649120"/>
                      </a:lnTo>
                      <a:cubicBezTo>
                        <a:pt x="-1173" y="731436"/>
                        <a:pt x="3570" y="816088"/>
                        <a:pt x="14836" y="902059"/>
                      </a:cubicBezTo>
                      <a:lnTo>
                        <a:pt x="33258" y="1011574"/>
                      </a:lnTo>
                      <a:lnTo>
                        <a:pt x="14836" y="902059"/>
                      </a:lnTo>
                      <a:cubicBezTo>
                        <a:pt x="3570" y="816089"/>
                        <a:pt x="-1174" y="731436"/>
                        <a:pt x="243" y="649120"/>
                      </a:cubicBezTo>
                      <a:close/>
                      <a:moveTo>
                        <a:pt x="18566" y="453371"/>
                      </a:moveTo>
                      <a:lnTo>
                        <a:pt x="18057" y="458810"/>
                      </a:lnTo>
                      <a:lnTo>
                        <a:pt x="16684" y="453855"/>
                      </a:lnTo>
                      <a:close/>
                      <a:moveTo>
                        <a:pt x="586030" y="0"/>
                      </a:moveTo>
                      <a:lnTo>
                        <a:pt x="780652" y="30059"/>
                      </a:lnTo>
                      <a:cubicBezTo>
                        <a:pt x="940996" y="67493"/>
                        <a:pt x="1104394" y="131100"/>
                        <a:pt x="1262219" y="221715"/>
                      </a:cubicBezTo>
                      <a:cubicBezTo>
                        <a:pt x="1420045" y="312330"/>
                        <a:pt x="1557356" y="421373"/>
                        <a:pt x="1670524" y="540973"/>
                      </a:cubicBezTo>
                      <a:lnTo>
                        <a:pt x="1794605" y="693896"/>
                      </a:lnTo>
                      <a:lnTo>
                        <a:pt x="1599983" y="663838"/>
                      </a:lnTo>
                      <a:lnTo>
                        <a:pt x="1793808" y="693773"/>
                      </a:lnTo>
                      <a:lnTo>
                        <a:pt x="1799394" y="696986"/>
                      </a:lnTo>
                      <a:lnTo>
                        <a:pt x="1713028" y="839149"/>
                      </a:lnTo>
                      <a:cubicBezTo>
                        <a:pt x="1415875" y="1278993"/>
                        <a:pt x="974473" y="1613376"/>
                        <a:pt x="456701" y="1774420"/>
                      </a:cubicBezTo>
                      <a:lnTo>
                        <a:pt x="396966" y="1789781"/>
                      </a:lnTo>
                      <a:lnTo>
                        <a:pt x="414882" y="1598358"/>
                      </a:lnTo>
                      <a:lnTo>
                        <a:pt x="396530" y="1794431"/>
                      </a:lnTo>
                      <a:lnTo>
                        <a:pt x="388883" y="1784215"/>
                      </a:lnTo>
                      <a:lnTo>
                        <a:pt x="396530" y="1794431"/>
                      </a:lnTo>
                      <a:lnTo>
                        <a:pt x="414882" y="1598358"/>
                      </a:lnTo>
                      <a:cubicBezTo>
                        <a:pt x="417715" y="1433728"/>
                        <a:pt x="395911" y="1259747"/>
                        <a:pt x="346558" y="1084578"/>
                      </a:cubicBezTo>
                      <a:cubicBezTo>
                        <a:pt x="297204" y="909408"/>
                        <a:pt x="224972" y="749636"/>
                        <a:pt x="136610" y="610699"/>
                      </a:cubicBezTo>
                      <a:lnTo>
                        <a:pt x="45988" y="489639"/>
                      </a:lnTo>
                      <a:lnTo>
                        <a:pt x="18795" y="453313"/>
                      </a:lnTo>
                      <a:lnTo>
                        <a:pt x="43382" y="446990"/>
                      </a:lnTo>
                      <a:cubicBezTo>
                        <a:pt x="256498" y="380705"/>
                        <a:pt x="438179" y="243073"/>
                        <a:pt x="560487" y="62032"/>
                      </a:cubicBezTo>
                      <a:lnTo>
                        <a:pt x="592973" y="8557"/>
                      </a:lnTo>
                      <a:lnTo>
                        <a:pt x="710111" y="152923"/>
                      </a:lnTo>
                      <a:close/>
                    </a:path>
                  </a:pathLst>
                </a:custGeom>
                <a:solidFill>
                  <a:srgbClr val="3FBE80"/>
                </a:solidFill>
                <a:ln>
                  <a:noFill/>
                </a:ln>
              </p:spPr>
              <p:txBody>
                <a:bodyPr vert="horz" wrap="square" lIns="91439" tIns="45719" rIns="91439" bIns="4571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863949"/>
                  <a:endParaRPr lang="en-US">
                    <a:solidFill>
                      <a:srgbClr val="555C6B"/>
                    </a:solidFill>
                    <a:latin typeface="Calibri"/>
                  </a:endParaRPr>
                </a:p>
              </p:txBody>
            </p:sp>
            <p:sp>
              <p:nvSpPr>
                <p:cNvPr id="18" name="Freeform: Shape 79">
                  <a:extLst>
                    <a:ext uri="{FF2B5EF4-FFF2-40B4-BE49-F238E27FC236}">
                      <a16:creationId xmlns:a16="http://schemas.microsoft.com/office/drawing/2014/main" id="{2778718F-972F-96D1-7BE2-29578B57F3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38048" y="4565924"/>
                  <a:ext cx="1807047" cy="1665804"/>
                </a:xfrm>
                <a:custGeom>
                  <a:avLst/>
                  <a:gdLst>
                    <a:gd name="connsiteX0" fmla="*/ 77928 w 1807047"/>
                    <a:gd name="connsiteY0" fmla="*/ 818346 h 1665804"/>
                    <a:gd name="connsiteX1" fmla="*/ 1 w 1807047"/>
                    <a:gd name="connsiteY1" fmla="*/ 999201 h 1665804"/>
                    <a:gd name="connsiteX2" fmla="*/ 0 w 1807047"/>
                    <a:gd name="connsiteY2" fmla="*/ 999201 h 1665804"/>
                    <a:gd name="connsiteX3" fmla="*/ 897005 w 1807047"/>
                    <a:gd name="connsiteY3" fmla="*/ 184240 h 1665804"/>
                    <a:gd name="connsiteX4" fmla="*/ 590654 w 1807047"/>
                    <a:gd name="connsiteY4" fmla="*/ 602316 h 1665804"/>
                    <a:gd name="connsiteX5" fmla="*/ 179163 w 1807047"/>
                    <a:gd name="connsiteY5" fmla="*/ 917458 h 1665804"/>
                    <a:gd name="connsiteX6" fmla="*/ 590654 w 1807047"/>
                    <a:gd name="connsiteY6" fmla="*/ 602316 h 1665804"/>
                    <a:gd name="connsiteX7" fmla="*/ 897005 w 1807047"/>
                    <a:gd name="connsiteY7" fmla="*/ 184240 h 1665804"/>
                    <a:gd name="connsiteX8" fmla="*/ 974934 w 1807047"/>
                    <a:gd name="connsiteY8" fmla="*/ 3386 h 1665804"/>
                    <a:gd name="connsiteX9" fmla="*/ 897005 w 1807047"/>
                    <a:gd name="connsiteY9" fmla="*/ 184240 h 1665804"/>
                    <a:gd name="connsiteX10" fmla="*/ 974933 w 1807047"/>
                    <a:gd name="connsiteY10" fmla="*/ 3387 h 1665804"/>
                    <a:gd name="connsiteX11" fmla="*/ 981219 w 1807047"/>
                    <a:gd name="connsiteY11" fmla="*/ 0 h 1665804"/>
                    <a:gd name="connsiteX12" fmla="*/ 1114341 w 1807047"/>
                    <a:gd name="connsiteY12" fmla="*/ 109836 h 1665804"/>
                    <a:gd name="connsiteX13" fmla="*/ 1509884 w 1807047"/>
                    <a:gd name="connsiteY13" fmla="*/ 264683 h 1665804"/>
                    <a:gd name="connsiteX14" fmla="*/ 1657897 w 1807047"/>
                    <a:gd name="connsiteY14" fmla="*/ 275882 h 1665804"/>
                    <a:gd name="connsiteX15" fmla="*/ 1660958 w 1807047"/>
                    <a:gd name="connsiteY15" fmla="*/ 267884 h 1665804"/>
                    <a:gd name="connsiteX16" fmla="*/ 1732237 w 1807047"/>
                    <a:gd name="connsiteY16" fmla="*/ 451461 h 1665804"/>
                    <a:gd name="connsiteX17" fmla="*/ 1807042 w 1807047"/>
                    <a:gd name="connsiteY17" fmla="*/ 964338 h 1665804"/>
                    <a:gd name="connsiteX18" fmla="*/ 1734709 w 1807047"/>
                    <a:gd name="connsiteY18" fmla="*/ 1477570 h 1665804"/>
                    <a:gd name="connsiteX19" fmla="*/ 1664314 w 1807047"/>
                    <a:gd name="connsiteY19" fmla="*/ 1661488 h 1665804"/>
                    <a:gd name="connsiteX20" fmla="*/ 1662716 w 1807047"/>
                    <a:gd name="connsiteY20" fmla="*/ 1657373 h 1665804"/>
                    <a:gd name="connsiteX21" fmla="*/ 1662716 w 1807047"/>
                    <a:gd name="connsiteY21" fmla="*/ 1665564 h 1665804"/>
                    <a:gd name="connsiteX22" fmla="*/ 1657953 w 1807047"/>
                    <a:gd name="connsiteY22" fmla="*/ 1665804 h 1665804"/>
                    <a:gd name="connsiteX23" fmla="*/ 155375 w 1807047"/>
                    <a:gd name="connsiteY23" fmla="*/ 1126393 h 1665804"/>
                    <a:gd name="connsiteX24" fmla="*/ 10273 w 1807047"/>
                    <a:gd name="connsiteY24" fmla="*/ 994515 h 1665804"/>
                    <a:gd name="connsiteX25" fmla="*/ 179164 w 1807047"/>
                    <a:gd name="connsiteY25" fmla="*/ 917458 h 1665804"/>
                    <a:gd name="connsiteX26" fmla="*/ 590655 w 1807047"/>
                    <a:gd name="connsiteY26" fmla="*/ 602316 h 1665804"/>
                    <a:gd name="connsiteX27" fmla="*/ 897006 w 1807047"/>
                    <a:gd name="connsiteY27" fmla="*/ 184240 h 1665804"/>
                    <a:gd name="connsiteX28" fmla="*/ 972643 w 1807047"/>
                    <a:gd name="connsiteY28" fmla="*/ 8704 h 16658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1807047" h="1665804">
                      <a:moveTo>
                        <a:pt x="77928" y="818346"/>
                      </a:moveTo>
                      <a:lnTo>
                        <a:pt x="1" y="999201"/>
                      </a:lnTo>
                      <a:lnTo>
                        <a:pt x="0" y="999201"/>
                      </a:lnTo>
                      <a:close/>
                      <a:moveTo>
                        <a:pt x="897005" y="184240"/>
                      </a:moveTo>
                      <a:cubicBezTo>
                        <a:pt x="820538" y="330062"/>
                        <a:pt x="717969" y="472274"/>
                        <a:pt x="590654" y="602316"/>
                      </a:cubicBezTo>
                      <a:cubicBezTo>
                        <a:pt x="463339" y="732358"/>
                        <a:pt x="323332" y="837918"/>
                        <a:pt x="179163" y="917458"/>
                      </a:cubicBezTo>
                      <a:cubicBezTo>
                        <a:pt x="323332" y="837918"/>
                        <a:pt x="463339" y="732358"/>
                        <a:pt x="590654" y="602316"/>
                      </a:cubicBezTo>
                      <a:cubicBezTo>
                        <a:pt x="717969" y="472274"/>
                        <a:pt x="820538" y="330062"/>
                        <a:pt x="897005" y="184240"/>
                      </a:cubicBezTo>
                      <a:close/>
                      <a:moveTo>
                        <a:pt x="974934" y="3386"/>
                      </a:moveTo>
                      <a:lnTo>
                        <a:pt x="897005" y="184240"/>
                      </a:lnTo>
                      <a:lnTo>
                        <a:pt x="974933" y="3387"/>
                      </a:lnTo>
                      <a:close/>
                      <a:moveTo>
                        <a:pt x="981219" y="0"/>
                      </a:moveTo>
                      <a:lnTo>
                        <a:pt x="1114341" y="109836"/>
                      </a:lnTo>
                      <a:cubicBezTo>
                        <a:pt x="1230724" y="188463"/>
                        <a:pt x="1365046" y="242553"/>
                        <a:pt x="1509884" y="264683"/>
                      </a:cubicBezTo>
                      <a:lnTo>
                        <a:pt x="1657897" y="275882"/>
                      </a:lnTo>
                      <a:lnTo>
                        <a:pt x="1660958" y="267884"/>
                      </a:lnTo>
                      <a:lnTo>
                        <a:pt x="1732237" y="451461"/>
                      </a:lnTo>
                      <a:cubicBezTo>
                        <a:pt x="1779990" y="609040"/>
                        <a:pt x="1806604" y="782350"/>
                        <a:pt x="1807042" y="964338"/>
                      </a:cubicBezTo>
                      <a:cubicBezTo>
                        <a:pt x="1807480" y="1146327"/>
                        <a:pt x="1781702" y="1319764"/>
                        <a:pt x="1734709" y="1477570"/>
                      </a:cubicBezTo>
                      <a:lnTo>
                        <a:pt x="1664314" y="1661488"/>
                      </a:lnTo>
                      <a:lnTo>
                        <a:pt x="1662716" y="1657373"/>
                      </a:lnTo>
                      <a:lnTo>
                        <a:pt x="1662716" y="1665564"/>
                      </a:lnTo>
                      <a:lnTo>
                        <a:pt x="1657953" y="1665804"/>
                      </a:lnTo>
                      <a:cubicBezTo>
                        <a:pt x="1087188" y="1665804"/>
                        <a:pt x="563702" y="1463374"/>
                        <a:pt x="155375" y="1126393"/>
                      </a:cubicBezTo>
                      <a:lnTo>
                        <a:pt x="10273" y="994515"/>
                      </a:lnTo>
                      <a:lnTo>
                        <a:pt x="179164" y="917458"/>
                      </a:lnTo>
                      <a:cubicBezTo>
                        <a:pt x="323333" y="837918"/>
                        <a:pt x="463340" y="732358"/>
                        <a:pt x="590655" y="602316"/>
                      </a:cubicBezTo>
                      <a:cubicBezTo>
                        <a:pt x="717970" y="472274"/>
                        <a:pt x="820539" y="330062"/>
                        <a:pt x="897006" y="184240"/>
                      </a:cubicBezTo>
                      <a:lnTo>
                        <a:pt x="972643" y="8704"/>
                      </a:lnTo>
                      <a:close/>
                    </a:path>
                  </a:pathLst>
                </a:custGeom>
                <a:solidFill>
                  <a:srgbClr val="3FBE80"/>
                </a:solidFill>
                <a:ln>
                  <a:noFill/>
                </a:ln>
              </p:spPr>
              <p:txBody>
                <a:bodyPr vert="horz" wrap="square" lIns="91439" tIns="45719" rIns="91439" bIns="4571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863949"/>
                  <a:endParaRPr lang="en-US">
                    <a:solidFill>
                      <a:srgbClr val="555C6B"/>
                    </a:solidFill>
                    <a:latin typeface="Calibri"/>
                  </a:endParaRPr>
                </a:p>
              </p:txBody>
            </p:sp>
            <p:sp>
              <p:nvSpPr>
                <p:cNvPr id="19" name="Freeform: Shape 80">
                  <a:extLst>
                    <a:ext uri="{FF2B5EF4-FFF2-40B4-BE49-F238E27FC236}">
                      <a16:creationId xmlns:a16="http://schemas.microsoft.com/office/drawing/2014/main" id="{37ACF547-4D84-CBF9-03F1-BDAD84AC58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33800" y="3260787"/>
                  <a:ext cx="1525378" cy="1793688"/>
                </a:xfrm>
                <a:custGeom>
                  <a:avLst/>
                  <a:gdLst>
                    <a:gd name="connsiteX0" fmla="*/ 781896 w 1525378"/>
                    <a:gd name="connsiteY0" fmla="*/ 56630 h 1793688"/>
                    <a:gd name="connsiteX1" fmla="*/ 781949 w 1525378"/>
                    <a:gd name="connsiteY1" fmla="*/ 56640 h 1793688"/>
                    <a:gd name="connsiteX2" fmla="*/ 1261058 w 1525378"/>
                    <a:gd name="connsiteY2" fmla="*/ 254360 h 1793688"/>
                    <a:gd name="connsiteX3" fmla="*/ 1421686 w 1525378"/>
                    <a:gd name="connsiteY3" fmla="*/ 368290 h 1793688"/>
                    <a:gd name="connsiteX4" fmla="*/ 1421685 w 1525378"/>
                    <a:gd name="connsiteY4" fmla="*/ 368290 h 1793688"/>
                    <a:gd name="connsiteX5" fmla="*/ 1261058 w 1525378"/>
                    <a:gd name="connsiteY5" fmla="*/ 254361 h 1793688"/>
                    <a:gd name="connsiteX6" fmla="*/ 781949 w 1525378"/>
                    <a:gd name="connsiteY6" fmla="*/ 56641 h 1793688"/>
                    <a:gd name="connsiteX7" fmla="*/ 74986 w 1525378"/>
                    <a:gd name="connsiteY7" fmla="*/ 27694 h 1793688"/>
                    <a:gd name="connsiteX8" fmla="*/ 231675 w 1525378"/>
                    <a:gd name="connsiteY8" fmla="*/ 138829 h 1793688"/>
                    <a:gd name="connsiteX9" fmla="*/ 710784 w 1525378"/>
                    <a:gd name="connsiteY9" fmla="*/ 336549 h 1793688"/>
                    <a:gd name="connsiteX10" fmla="*/ 1226149 w 1525378"/>
                    <a:gd name="connsiteY10" fmla="*/ 391668 h 1793688"/>
                    <a:gd name="connsiteX11" fmla="*/ 1418696 w 1525378"/>
                    <a:gd name="connsiteY11" fmla="*/ 368649 h 1793688"/>
                    <a:gd name="connsiteX12" fmla="*/ 1420877 w 1525378"/>
                    <a:gd name="connsiteY12" fmla="*/ 369212 h 1793688"/>
                    <a:gd name="connsiteX13" fmla="*/ 1409672 w 1525378"/>
                    <a:gd name="connsiteY13" fmla="*/ 412792 h 1793688"/>
                    <a:gd name="connsiteX14" fmla="*/ 1389918 w 1525378"/>
                    <a:gd name="connsiteY14" fmla="*/ 608741 h 1793688"/>
                    <a:gd name="connsiteX15" fmla="*/ 1466325 w 1525378"/>
                    <a:gd name="connsiteY15" fmla="*/ 987197 h 1793688"/>
                    <a:gd name="connsiteX16" fmla="*/ 1525378 w 1525378"/>
                    <a:gd name="connsiteY16" fmla="*/ 1095994 h 1793688"/>
                    <a:gd name="connsiteX17" fmla="*/ 1522548 w 1525378"/>
                    <a:gd name="connsiteY17" fmla="*/ 1097617 h 1793688"/>
                    <a:gd name="connsiteX18" fmla="*/ 1523308 w 1525378"/>
                    <a:gd name="connsiteY18" fmla="*/ 1096675 h 1793688"/>
                    <a:gd name="connsiteX19" fmla="*/ 1399623 w 1525378"/>
                    <a:gd name="connsiteY19" fmla="*/ 1249917 h 1793688"/>
                    <a:gd name="connsiteX20" fmla="*/ 992144 w 1525378"/>
                    <a:gd name="connsiteY20" fmla="*/ 1570228 h 1793688"/>
                    <a:gd name="connsiteX21" fmla="*/ 511073 w 1525378"/>
                    <a:gd name="connsiteY21" fmla="*/ 1763127 h 1793688"/>
                    <a:gd name="connsiteX22" fmla="*/ 316530 w 1525378"/>
                    <a:gd name="connsiteY22" fmla="*/ 1793688 h 1793688"/>
                    <a:gd name="connsiteX23" fmla="*/ 323513 w 1525378"/>
                    <a:gd name="connsiteY23" fmla="*/ 1785037 h 1793688"/>
                    <a:gd name="connsiteX24" fmla="*/ 317704 w 1525378"/>
                    <a:gd name="connsiteY24" fmla="*/ 1788366 h 1793688"/>
                    <a:gd name="connsiteX25" fmla="*/ 285105 w 1525378"/>
                    <a:gd name="connsiteY25" fmla="*/ 1734706 h 1793688"/>
                    <a:gd name="connsiteX26" fmla="*/ 0 w 1525378"/>
                    <a:gd name="connsiteY26" fmla="*/ 608741 h 1793688"/>
                    <a:gd name="connsiteX27" fmla="*/ 47992 w 1525378"/>
                    <a:gd name="connsiteY27" fmla="*/ 132675 h 1793688"/>
                    <a:gd name="connsiteX28" fmla="*/ 562877 w 1525378"/>
                    <a:gd name="connsiteY28" fmla="*/ 15732 h 1793688"/>
                    <a:gd name="connsiteX29" fmla="*/ 584750 w 1525378"/>
                    <a:gd name="connsiteY29" fmla="*/ 17633 h 1793688"/>
                    <a:gd name="connsiteX30" fmla="*/ 606283 w 1525378"/>
                    <a:gd name="connsiteY30" fmla="*/ 21893 h 1793688"/>
                    <a:gd name="connsiteX31" fmla="*/ 391707 w 1525378"/>
                    <a:gd name="connsiteY31" fmla="*/ 851 h 1793688"/>
                    <a:gd name="connsiteX32" fmla="*/ 391748 w 1525378"/>
                    <a:gd name="connsiteY32" fmla="*/ 855 h 1793688"/>
                    <a:gd name="connsiteX33" fmla="*/ 391707 w 1525378"/>
                    <a:gd name="connsiteY33" fmla="*/ 852 h 1793688"/>
                    <a:gd name="connsiteX34" fmla="*/ 266585 w 1525378"/>
                    <a:gd name="connsiteY34" fmla="*/ 1522 h 1793688"/>
                    <a:gd name="connsiteX35" fmla="*/ 71048 w 1525378"/>
                    <a:gd name="connsiteY35" fmla="*/ 24900 h 1793688"/>
                    <a:gd name="connsiteX36" fmla="*/ 71047 w 1525378"/>
                    <a:gd name="connsiteY36" fmla="*/ 24899 h 1793688"/>
                    <a:gd name="connsiteX37" fmla="*/ 79100 w 1525378"/>
                    <a:gd name="connsiteY37" fmla="*/ 23936 h 1793688"/>
                    <a:gd name="connsiteX38" fmla="*/ 75852 w 1525378"/>
                    <a:gd name="connsiteY38" fmla="*/ 24324 h 1793688"/>
                    <a:gd name="connsiteX39" fmla="*/ 76434 w 1525378"/>
                    <a:gd name="connsiteY39" fmla="*/ 22059 h 1793688"/>
                    <a:gd name="connsiteX40" fmla="*/ 82247 w 1525378"/>
                    <a:gd name="connsiteY40" fmla="*/ 23560 h 1793688"/>
                    <a:gd name="connsiteX41" fmla="*/ 266585 w 1525378"/>
                    <a:gd name="connsiteY41" fmla="*/ 1521 h 1793688"/>
                    <a:gd name="connsiteX42" fmla="*/ 391707 w 1525378"/>
                    <a:gd name="connsiteY42" fmla="*/ 851 h 1793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</a:cxnLst>
                  <a:rect l="l" t="t" r="r" b="b"/>
                  <a:pathLst>
                    <a:path w="1525378" h="1793688">
                      <a:moveTo>
                        <a:pt x="781896" y="56630"/>
                      </a:moveTo>
                      <a:lnTo>
                        <a:pt x="781949" y="56640"/>
                      </a:lnTo>
                      <a:cubicBezTo>
                        <a:pt x="958327" y="101483"/>
                        <a:pt x="1119900" y="169592"/>
                        <a:pt x="1261058" y="254360"/>
                      </a:cubicBezTo>
                      <a:lnTo>
                        <a:pt x="1421686" y="368290"/>
                      </a:lnTo>
                      <a:lnTo>
                        <a:pt x="1421685" y="368290"/>
                      </a:lnTo>
                      <a:lnTo>
                        <a:pt x="1261058" y="254361"/>
                      </a:lnTo>
                      <a:cubicBezTo>
                        <a:pt x="1119900" y="169593"/>
                        <a:pt x="958327" y="101484"/>
                        <a:pt x="781949" y="56641"/>
                      </a:cubicBezTo>
                      <a:close/>
                      <a:moveTo>
                        <a:pt x="74986" y="27694"/>
                      </a:moveTo>
                      <a:lnTo>
                        <a:pt x="231675" y="138829"/>
                      </a:lnTo>
                      <a:cubicBezTo>
                        <a:pt x="372833" y="223598"/>
                        <a:pt x="534407" y="291706"/>
                        <a:pt x="710784" y="336549"/>
                      </a:cubicBezTo>
                      <a:cubicBezTo>
                        <a:pt x="887162" y="381392"/>
                        <a:pt x="1061645" y="398724"/>
                        <a:pt x="1226149" y="391668"/>
                      </a:cubicBezTo>
                      <a:lnTo>
                        <a:pt x="1418696" y="368649"/>
                      </a:lnTo>
                      <a:lnTo>
                        <a:pt x="1420877" y="369212"/>
                      </a:lnTo>
                      <a:lnTo>
                        <a:pt x="1409672" y="412792"/>
                      </a:lnTo>
                      <a:cubicBezTo>
                        <a:pt x="1396720" y="476086"/>
                        <a:pt x="1389918" y="541619"/>
                        <a:pt x="1389918" y="608741"/>
                      </a:cubicBezTo>
                      <a:cubicBezTo>
                        <a:pt x="1389918" y="742985"/>
                        <a:pt x="1417125" y="870875"/>
                        <a:pt x="1466325" y="987197"/>
                      </a:cubicBezTo>
                      <a:lnTo>
                        <a:pt x="1525378" y="1095994"/>
                      </a:lnTo>
                      <a:lnTo>
                        <a:pt x="1522548" y="1097617"/>
                      </a:lnTo>
                      <a:lnTo>
                        <a:pt x="1523308" y="1096675"/>
                      </a:lnTo>
                      <a:lnTo>
                        <a:pt x="1399623" y="1249917"/>
                      </a:lnTo>
                      <a:cubicBezTo>
                        <a:pt x="1286764" y="1369809"/>
                        <a:pt x="1149735" y="1479207"/>
                        <a:pt x="992144" y="1570228"/>
                      </a:cubicBezTo>
                      <a:cubicBezTo>
                        <a:pt x="834552" y="1661250"/>
                        <a:pt x="671319" y="1725279"/>
                        <a:pt x="511073" y="1763127"/>
                      </a:cubicBezTo>
                      <a:lnTo>
                        <a:pt x="316530" y="1793688"/>
                      </a:lnTo>
                      <a:lnTo>
                        <a:pt x="323513" y="1785037"/>
                      </a:lnTo>
                      <a:lnTo>
                        <a:pt x="317704" y="1788366"/>
                      </a:lnTo>
                      <a:lnTo>
                        <a:pt x="285105" y="1734706"/>
                      </a:lnTo>
                      <a:cubicBezTo>
                        <a:pt x="103281" y="1399998"/>
                        <a:pt x="0" y="1016431"/>
                        <a:pt x="0" y="608741"/>
                      </a:cubicBezTo>
                      <a:cubicBezTo>
                        <a:pt x="0" y="445665"/>
                        <a:pt x="16525" y="286449"/>
                        <a:pt x="47992" y="132675"/>
                      </a:cubicBezTo>
                      <a:close/>
                      <a:moveTo>
                        <a:pt x="562877" y="15732"/>
                      </a:moveTo>
                      <a:lnTo>
                        <a:pt x="584750" y="17633"/>
                      </a:lnTo>
                      <a:lnTo>
                        <a:pt x="606283" y="21893"/>
                      </a:lnTo>
                      <a:close/>
                      <a:moveTo>
                        <a:pt x="391707" y="851"/>
                      </a:moveTo>
                      <a:lnTo>
                        <a:pt x="391748" y="855"/>
                      </a:lnTo>
                      <a:lnTo>
                        <a:pt x="391707" y="852"/>
                      </a:lnTo>
                      <a:cubicBezTo>
                        <a:pt x="349460" y="-482"/>
                        <a:pt x="307711" y="-242"/>
                        <a:pt x="266585" y="1522"/>
                      </a:cubicBezTo>
                      <a:lnTo>
                        <a:pt x="71048" y="24900"/>
                      </a:lnTo>
                      <a:lnTo>
                        <a:pt x="71047" y="24899"/>
                      </a:lnTo>
                      <a:lnTo>
                        <a:pt x="79100" y="23936"/>
                      </a:lnTo>
                      <a:lnTo>
                        <a:pt x="75852" y="24324"/>
                      </a:lnTo>
                      <a:lnTo>
                        <a:pt x="76434" y="22059"/>
                      </a:lnTo>
                      <a:lnTo>
                        <a:pt x="82247" y="23560"/>
                      </a:lnTo>
                      <a:lnTo>
                        <a:pt x="266585" y="1521"/>
                      </a:lnTo>
                      <a:cubicBezTo>
                        <a:pt x="307711" y="-243"/>
                        <a:pt x="349460" y="-483"/>
                        <a:pt x="391707" y="851"/>
                      </a:cubicBezTo>
                      <a:close/>
                    </a:path>
                  </a:pathLst>
                </a:custGeom>
                <a:solidFill>
                  <a:srgbClr val="3FBE80"/>
                </a:solidFill>
                <a:ln>
                  <a:noFill/>
                </a:ln>
              </p:spPr>
              <p:txBody>
                <a:bodyPr vert="horz" wrap="square" lIns="91439" tIns="45719" rIns="91439" bIns="4571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863949"/>
                  <a:endParaRPr lang="en-US">
                    <a:solidFill>
                      <a:srgbClr val="555C6B"/>
                    </a:solidFill>
                    <a:latin typeface="Calibri"/>
                  </a:endParaRPr>
                </a:p>
              </p:txBody>
            </p:sp>
            <p:sp>
              <p:nvSpPr>
                <p:cNvPr id="20" name="Freeform: Shape 81">
                  <a:extLst>
                    <a:ext uri="{FF2B5EF4-FFF2-40B4-BE49-F238E27FC236}">
                      <a16:creationId xmlns:a16="http://schemas.microsoft.com/office/drawing/2014/main" id="{9EE9B6F8-DA7B-B644-2A8D-8E638351F8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50387" y="1590218"/>
                  <a:ext cx="1812923" cy="1797712"/>
                </a:xfrm>
                <a:custGeom>
                  <a:avLst/>
                  <a:gdLst>
                    <a:gd name="connsiteX0" fmla="*/ 963561 w 1812923"/>
                    <a:gd name="connsiteY0" fmla="*/ 1529207 h 1797712"/>
                    <a:gd name="connsiteX1" fmla="*/ 996662 w 1812923"/>
                    <a:gd name="connsiteY1" fmla="*/ 1557192 h 1797712"/>
                    <a:gd name="connsiteX2" fmla="*/ 1025602 w 1812923"/>
                    <a:gd name="connsiteY2" fmla="*/ 1585565 h 1797712"/>
                    <a:gd name="connsiteX3" fmla="*/ 996662 w 1812923"/>
                    <a:gd name="connsiteY3" fmla="*/ 1557191 h 1797712"/>
                    <a:gd name="connsiteX4" fmla="*/ 437863 w 1812923"/>
                    <a:gd name="connsiteY4" fmla="*/ 1209760 h 1797712"/>
                    <a:gd name="connsiteX5" fmla="*/ 558423 w 1812923"/>
                    <a:gd name="connsiteY5" fmla="*/ 1262621 h 1797712"/>
                    <a:gd name="connsiteX6" fmla="*/ 677703 w 1812923"/>
                    <a:gd name="connsiteY6" fmla="*/ 1325531 h 1797712"/>
                    <a:gd name="connsiteX7" fmla="*/ 437864 w 1812923"/>
                    <a:gd name="connsiteY7" fmla="*/ 1209760 h 1797712"/>
                    <a:gd name="connsiteX8" fmla="*/ 1416393 w 1812923"/>
                    <a:gd name="connsiteY8" fmla="*/ 0 h 1797712"/>
                    <a:gd name="connsiteX9" fmla="*/ 1534408 w 1812923"/>
                    <a:gd name="connsiteY9" fmla="*/ 157652 h 1797712"/>
                    <a:gd name="connsiteX10" fmla="*/ 1744356 w 1812923"/>
                    <a:gd name="connsiteY10" fmla="*/ 631530 h 1797712"/>
                    <a:gd name="connsiteX11" fmla="*/ 1812680 w 1812923"/>
                    <a:gd name="connsiteY11" fmla="*/ 1145311 h 1797712"/>
                    <a:gd name="connsiteX12" fmla="*/ 1794327 w 1812923"/>
                    <a:gd name="connsiteY12" fmla="*/ 1341384 h 1797712"/>
                    <a:gd name="connsiteX13" fmla="*/ 1783087 w 1812923"/>
                    <a:gd name="connsiteY13" fmla="*/ 1326369 h 1797712"/>
                    <a:gd name="connsiteX14" fmla="*/ 1787652 w 1812923"/>
                    <a:gd name="connsiteY14" fmla="*/ 1342726 h 1797712"/>
                    <a:gd name="connsiteX15" fmla="*/ 1756486 w 1812923"/>
                    <a:gd name="connsiteY15" fmla="*/ 1350740 h 1797712"/>
                    <a:gd name="connsiteX16" fmla="*/ 1239382 w 1812923"/>
                    <a:gd name="connsiteY16" fmla="*/ 1735698 h 1797712"/>
                    <a:gd name="connsiteX17" fmla="*/ 1205296 w 1812923"/>
                    <a:gd name="connsiteY17" fmla="*/ 1791806 h 1797712"/>
                    <a:gd name="connsiteX18" fmla="*/ 1086008 w 1812923"/>
                    <a:gd name="connsiteY18" fmla="*/ 1644789 h 1797712"/>
                    <a:gd name="connsiteX19" fmla="*/ 1210088 w 1812923"/>
                    <a:gd name="connsiteY19" fmla="*/ 1797712 h 1797712"/>
                    <a:gd name="connsiteX20" fmla="*/ 1015466 w 1812923"/>
                    <a:gd name="connsiteY20" fmla="*/ 1767654 h 1797712"/>
                    <a:gd name="connsiteX21" fmla="*/ 533899 w 1812923"/>
                    <a:gd name="connsiteY21" fmla="*/ 1575997 h 1797712"/>
                    <a:gd name="connsiteX22" fmla="*/ 125594 w 1812923"/>
                    <a:gd name="connsiteY22" fmla="*/ 1256739 h 1797712"/>
                    <a:gd name="connsiteX23" fmla="*/ 1513 w 1812923"/>
                    <a:gd name="connsiteY23" fmla="*/ 1103817 h 1797712"/>
                    <a:gd name="connsiteX24" fmla="*/ 4874 w 1812923"/>
                    <a:gd name="connsiteY24" fmla="*/ 1104336 h 1797712"/>
                    <a:gd name="connsiteX25" fmla="*/ 0 w 1812923"/>
                    <a:gd name="connsiteY25" fmla="*/ 1101525 h 1797712"/>
                    <a:gd name="connsiteX26" fmla="*/ 86840 w 1812923"/>
                    <a:gd name="connsiteY26" fmla="*/ 958582 h 1797712"/>
                    <a:gd name="connsiteX27" fmla="*/ 1343167 w 1812923"/>
                    <a:gd name="connsiteY27" fmla="*/ 23310 h 1797712"/>
                    <a:gd name="connsiteX28" fmla="*/ 1414306 w 1812923"/>
                    <a:gd name="connsiteY28" fmla="*/ 5018 h 1797712"/>
                    <a:gd name="connsiteX29" fmla="*/ 1415517 w 1812923"/>
                    <a:gd name="connsiteY29" fmla="*/ 9358 h 1797712"/>
                    <a:gd name="connsiteX30" fmla="*/ 1414481 w 1812923"/>
                    <a:gd name="connsiteY30" fmla="*/ 20434 h 1797712"/>
                    <a:gd name="connsiteX31" fmla="*/ 1398042 w 1812923"/>
                    <a:gd name="connsiteY31" fmla="*/ 196073 h 1797712"/>
                    <a:gd name="connsiteX32" fmla="*/ 1466366 w 1812923"/>
                    <a:gd name="connsiteY32" fmla="*/ 709854 h 1797712"/>
                    <a:gd name="connsiteX33" fmla="*/ 1676314 w 1812923"/>
                    <a:gd name="connsiteY33" fmla="*/ 1183732 h 1797712"/>
                    <a:gd name="connsiteX34" fmla="*/ 1794327 w 1812923"/>
                    <a:gd name="connsiteY34" fmla="*/ 1341384 h 1797712"/>
                    <a:gd name="connsiteX35" fmla="*/ 1812680 w 1812923"/>
                    <a:gd name="connsiteY35" fmla="*/ 1145311 h 1797712"/>
                    <a:gd name="connsiteX36" fmla="*/ 1744356 w 1812923"/>
                    <a:gd name="connsiteY36" fmla="*/ 631530 h 1797712"/>
                    <a:gd name="connsiteX37" fmla="*/ 1534408 w 1812923"/>
                    <a:gd name="connsiteY37" fmla="*/ 157652 h 1797712"/>
                    <a:gd name="connsiteX38" fmla="*/ 1416393 w 1812923"/>
                    <a:gd name="connsiteY38" fmla="*/ 0 h 1797712"/>
                    <a:gd name="connsiteX39" fmla="*/ 1416086 w 1812923"/>
                    <a:gd name="connsiteY39" fmla="*/ 3283 h 17977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1812923" h="1797712">
                      <a:moveTo>
                        <a:pt x="963561" y="1529207"/>
                      </a:moveTo>
                      <a:lnTo>
                        <a:pt x="996662" y="1557192"/>
                      </a:lnTo>
                      <a:lnTo>
                        <a:pt x="1025602" y="1585565"/>
                      </a:lnTo>
                      <a:lnTo>
                        <a:pt x="996662" y="1557191"/>
                      </a:lnTo>
                      <a:close/>
                      <a:moveTo>
                        <a:pt x="437863" y="1209760"/>
                      </a:moveTo>
                      <a:lnTo>
                        <a:pt x="558423" y="1262621"/>
                      </a:lnTo>
                      <a:cubicBezTo>
                        <a:pt x="598442" y="1281911"/>
                        <a:pt x="638246" y="1302877"/>
                        <a:pt x="677703" y="1325531"/>
                      </a:cubicBezTo>
                      <a:cubicBezTo>
                        <a:pt x="598790" y="1280224"/>
                        <a:pt x="518484" y="1241668"/>
                        <a:pt x="437864" y="1209760"/>
                      </a:cubicBezTo>
                      <a:close/>
                      <a:moveTo>
                        <a:pt x="1416393" y="0"/>
                      </a:moveTo>
                      <a:lnTo>
                        <a:pt x="1534408" y="157652"/>
                      </a:lnTo>
                      <a:cubicBezTo>
                        <a:pt x="1622770" y="296588"/>
                        <a:pt x="1695002" y="456361"/>
                        <a:pt x="1744356" y="631530"/>
                      </a:cubicBezTo>
                      <a:cubicBezTo>
                        <a:pt x="1793709" y="806700"/>
                        <a:pt x="1815513" y="980681"/>
                        <a:pt x="1812680" y="1145311"/>
                      </a:cubicBezTo>
                      <a:lnTo>
                        <a:pt x="1794327" y="1341384"/>
                      </a:lnTo>
                      <a:lnTo>
                        <a:pt x="1783087" y="1326369"/>
                      </a:lnTo>
                      <a:lnTo>
                        <a:pt x="1787652" y="1342726"/>
                      </a:lnTo>
                      <a:lnTo>
                        <a:pt x="1756486" y="1350740"/>
                      </a:lnTo>
                      <a:cubicBezTo>
                        <a:pt x="1543371" y="1417026"/>
                        <a:pt x="1361690" y="1554658"/>
                        <a:pt x="1239382" y="1735698"/>
                      </a:cubicBezTo>
                      <a:lnTo>
                        <a:pt x="1205296" y="1791806"/>
                      </a:lnTo>
                      <a:lnTo>
                        <a:pt x="1086008" y="1644789"/>
                      </a:lnTo>
                      <a:lnTo>
                        <a:pt x="1210088" y="1797712"/>
                      </a:lnTo>
                      <a:lnTo>
                        <a:pt x="1015466" y="1767654"/>
                      </a:lnTo>
                      <a:cubicBezTo>
                        <a:pt x="855123" y="1730219"/>
                        <a:pt x="691725" y="1666612"/>
                        <a:pt x="533899" y="1575997"/>
                      </a:cubicBezTo>
                      <a:cubicBezTo>
                        <a:pt x="376073" y="1485383"/>
                        <a:pt x="238762" y="1376340"/>
                        <a:pt x="125594" y="1256739"/>
                      </a:cubicBezTo>
                      <a:lnTo>
                        <a:pt x="1513" y="1103817"/>
                      </a:lnTo>
                      <a:lnTo>
                        <a:pt x="4874" y="1104336"/>
                      </a:lnTo>
                      <a:lnTo>
                        <a:pt x="0" y="1101525"/>
                      </a:lnTo>
                      <a:lnTo>
                        <a:pt x="86840" y="958582"/>
                      </a:lnTo>
                      <a:cubicBezTo>
                        <a:pt x="383993" y="518737"/>
                        <a:pt x="825395" y="184354"/>
                        <a:pt x="1343167" y="23310"/>
                      </a:cubicBezTo>
                      <a:lnTo>
                        <a:pt x="1414306" y="5018"/>
                      </a:lnTo>
                      <a:lnTo>
                        <a:pt x="1415517" y="9358"/>
                      </a:lnTo>
                      <a:lnTo>
                        <a:pt x="1414481" y="20434"/>
                      </a:lnTo>
                      <a:lnTo>
                        <a:pt x="1398042" y="196073"/>
                      </a:lnTo>
                      <a:cubicBezTo>
                        <a:pt x="1395209" y="360704"/>
                        <a:pt x="1417012" y="534685"/>
                        <a:pt x="1466366" y="709854"/>
                      </a:cubicBezTo>
                      <a:cubicBezTo>
                        <a:pt x="1515720" y="885023"/>
                        <a:pt x="1587951" y="1044796"/>
                        <a:pt x="1676314" y="1183732"/>
                      </a:cubicBezTo>
                      <a:lnTo>
                        <a:pt x="1794327" y="1341384"/>
                      </a:lnTo>
                      <a:lnTo>
                        <a:pt x="1812680" y="1145311"/>
                      </a:lnTo>
                      <a:cubicBezTo>
                        <a:pt x="1815513" y="980681"/>
                        <a:pt x="1793709" y="806700"/>
                        <a:pt x="1744356" y="631530"/>
                      </a:cubicBezTo>
                      <a:cubicBezTo>
                        <a:pt x="1695002" y="456361"/>
                        <a:pt x="1622770" y="296588"/>
                        <a:pt x="1534408" y="157652"/>
                      </a:cubicBezTo>
                      <a:lnTo>
                        <a:pt x="1416393" y="0"/>
                      </a:lnTo>
                      <a:lnTo>
                        <a:pt x="1416086" y="3283"/>
                      </a:lnTo>
                      <a:close/>
                    </a:path>
                  </a:pathLst>
                </a:custGeom>
                <a:solidFill>
                  <a:srgbClr val="3FBE80"/>
                </a:solidFill>
                <a:ln>
                  <a:noFill/>
                </a:ln>
              </p:spPr>
              <p:txBody>
                <a:bodyPr vert="horz" wrap="square" lIns="91439" tIns="45719" rIns="91439" bIns="45719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863949"/>
                  <a:endParaRPr lang="en-US">
                    <a:solidFill>
                      <a:srgbClr val="555C6B"/>
                    </a:solidFill>
                    <a:latin typeface="Calibri"/>
                  </a:endParaRPr>
                </a:p>
              </p:txBody>
            </p:sp>
          </p:grpSp>
          <p:pic>
            <p:nvPicPr>
              <p:cNvPr id="23" name="Picture 12" descr="value chain Icon - Free PNG &amp; SVG 3308392 - Noun Project">
                <a:extLst>
                  <a:ext uri="{FF2B5EF4-FFF2-40B4-BE49-F238E27FC236}">
                    <a16:creationId xmlns:a16="http://schemas.microsoft.com/office/drawing/2014/main" id="{BBE92792-40F7-4A47-FDFD-0EF17EBB0A7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print"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524085" y="2281884"/>
                <a:ext cx="1220853" cy="1220853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5" name="Picture 4" descr="esg Icon - Free PNG &amp; SVG 4716830 - Noun Project">
                <a:extLst>
                  <a:ext uri="{FF2B5EF4-FFF2-40B4-BE49-F238E27FC236}">
                    <a16:creationId xmlns:a16="http://schemas.microsoft.com/office/drawing/2014/main" id="{D15103DB-1171-4724-388A-DF4D4670210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0800000" flipV="1">
                <a:off x="8344994" y="740519"/>
                <a:ext cx="804081" cy="80408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7" name="Picture 10" descr="Arrow Cross Icons - Free SVG &amp; PNG Arrow Cross Images - Noun Project">
                <a:extLst>
                  <a:ext uri="{FF2B5EF4-FFF2-40B4-BE49-F238E27FC236}">
                    <a16:creationId xmlns:a16="http://schemas.microsoft.com/office/drawing/2014/main" id="{700597FD-5775-1992-0763-F4A131E0E36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 flipV="1">
                <a:off x="9654306" y="2186809"/>
                <a:ext cx="703968" cy="70396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8" name="Picture 2" descr="Road map Icons &amp; Symbols">
                <a:extLst>
                  <a:ext uri="{FF2B5EF4-FFF2-40B4-BE49-F238E27FC236}">
                    <a16:creationId xmlns:a16="http://schemas.microsoft.com/office/drawing/2014/main" id="{33DB69DA-850E-CCC7-F314-14BC8E42041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0800000" flipV="1">
                <a:off x="9099697" y="4012132"/>
                <a:ext cx="632299" cy="63229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9" name="Picture 16" descr="Stakeholders Icon - Free PNG &amp; SVG 4426986 - Noun Project">
                <a:extLst>
                  <a:ext uri="{FF2B5EF4-FFF2-40B4-BE49-F238E27FC236}">
                    <a16:creationId xmlns:a16="http://schemas.microsoft.com/office/drawing/2014/main" id="{15461DF7-F43C-2101-5252-2372B8A54B4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0800000" flipV="1">
                <a:off x="7136047" y="4254499"/>
                <a:ext cx="747905" cy="74790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1" name="Tekstvak 30">
              <a:extLst>
                <a:ext uri="{FF2B5EF4-FFF2-40B4-BE49-F238E27FC236}">
                  <a16:creationId xmlns:a16="http://schemas.microsoft.com/office/drawing/2014/main" id="{4B40C4BB-735C-93E7-EE58-CF76E2F11293}"/>
                </a:ext>
              </a:extLst>
            </p:cNvPr>
            <p:cNvSpPr txBox="1"/>
            <p:nvPr/>
          </p:nvSpPr>
          <p:spPr>
            <a:xfrm>
              <a:off x="8334349" y="1979906"/>
              <a:ext cx="240517" cy="3411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863949">
                <a:buClr>
                  <a:srgbClr val="4AC300"/>
                </a:buClr>
              </a:pPr>
              <a:r>
                <a:rPr lang="en-GB" sz="2000" b="1">
                  <a:solidFill>
                    <a:srgbClr val="FFFFFF"/>
                  </a:solidFill>
                  <a:latin typeface="Montserrat" panose="00000500000000000000" pitchFamily="2" charset="0"/>
                  <a:ea typeface="Open Sans" panose="020B0606030504020204" pitchFamily="34" charset="0"/>
                  <a:cs typeface="Open Sans" panose="020B0606030504020204" pitchFamily="34" charset="0"/>
                </a:rPr>
                <a:t>1</a:t>
              </a:r>
            </a:p>
          </p:txBody>
        </p:sp>
        <p:sp>
          <p:nvSpPr>
            <p:cNvPr id="1044" name="Tekstvak 1043">
              <a:extLst>
                <a:ext uri="{FF2B5EF4-FFF2-40B4-BE49-F238E27FC236}">
                  <a16:creationId xmlns:a16="http://schemas.microsoft.com/office/drawing/2014/main" id="{CD28561F-E277-CF4B-3F5E-E3C6957869E0}"/>
                </a:ext>
              </a:extLst>
            </p:cNvPr>
            <p:cNvSpPr txBox="1"/>
            <p:nvPr/>
          </p:nvSpPr>
          <p:spPr>
            <a:xfrm>
              <a:off x="8906312" y="2667211"/>
              <a:ext cx="240517" cy="3411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863949">
                <a:buClr>
                  <a:srgbClr val="4AC300"/>
                </a:buClr>
              </a:pPr>
              <a:r>
                <a:rPr lang="en-GB" sz="2000" b="1">
                  <a:solidFill>
                    <a:srgbClr val="FFFFFF"/>
                  </a:solidFill>
                  <a:latin typeface="Montserrat" panose="00000500000000000000" pitchFamily="2" charset="0"/>
                  <a:ea typeface="Open Sans" panose="020B0606030504020204" pitchFamily="34" charset="0"/>
                  <a:cs typeface="Open Sans" panose="020B0606030504020204" pitchFamily="34" charset="0"/>
                </a:rPr>
                <a:t>2</a:t>
              </a:r>
            </a:p>
          </p:txBody>
        </p:sp>
        <p:sp>
          <p:nvSpPr>
            <p:cNvPr id="1049" name="Tekstvak 1048">
              <a:extLst>
                <a:ext uri="{FF2B5EF4-FFF2-40B4-BE49-F238E27FC236}">
                  <a16:creationId xmlns:a16="http://schemas.microsoft.com/office/drawing/2014/main" id="{90AEFBE4-A02F-B600-CB30-8B903789697C}"/>
                </a:ext>
              </a:extLst>
            </p:cNvPr>
            <p:cNvSpPr txBox="1"/>
            <p:nvPr/>
          </p:nvSpPr>
          <p:spPr>
            <a:xfrm>
              <a:off x="8605926" y="3510560"/>
              <a:ext cx="240517" cy="3411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863949">
                <a:buClr>
                  <a:srgbClr val="4AC300"/>
                </a:buClr>
              </a:pPr>
              <a:r>
                <a:rPr lang="en-GB" sz="2000" b="1">
                  <a:solidFill>
                    <a:srgbClr val="FFFFFF"/>
                  </a:solidFill>
                  <a:latin typeface="Montserrat" panose="00000500000000000000" pitchFamily="2" charset="0"/>
                  <a:ea typeface="Open Sans" panose="020B0606030504020204" pitchFamily="34" charset="0"/>
                  <a:cs typeface="Open Sans" panose="020B0606030504020204" pitchFamily="34" charset="0"/>
                </a:rPr>
                <a:t>3</a:t>
              </a:r>
            </a:p>
          </p:txBody>
        </p:sp>
        <p:sp>
          <p:nvSpPr>
            <p:cNvPr id="1050" name="Tekstvak 1049">
              <a:extLst>
                <a:ext uri="{FF2B5EF4-FFF2-40B4-BE49-F238E27FC236}">
                  <a16:creationId xmlns:a16="http://schemas.microsoft.com/office/drawing/2014/main" id="{655FA033-5394-8E34-6E4E-07D011F1DB26}"/>
                </a:ext>
              </a:extLst>
            </p:cNvPr>
            <p:cNvSpPr txBox="1"/>
            <p:nvPr/>
          </p:nvSpPr>
          <p:spPr>
            <a:xfrm>
              <a:off x="7679031" y="3696212"/>
              <a:ext cx="240517" cy="3411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863949">
                <a:buClr>
                  <a:srgbClr val="4AC300"/>
                </a:buClr>
              </a:pPr>
              <a:r>
                <a:rPr lang="en-GB" sz="2000" b="1">
                  <a:solidFill>
                    <a:srgbClr val="FFFFFF"/>
                  </a:solidFill>
                  <a:latin typeface="Montserrat" panose="00000500000000000000" pitchFamily="2" charset="0"/>
                  <a:ea typeface="Open Sans" panose="020B0606030504020204" pitchFamily="34" charset="0"/>
                  <a:cs typeface="Open Sans" panose="020B0606030504020204" pitchFamily="34" charset="0"/>
                </a:rPr>
                <a:t>4</a:t>
              </a:r>
              <a:endParaRPr lang="en-GB" sz="2400" b="1">
                <a:solidFill>
                  <a:srgbClr val="FFFFFF"/>
                </a:solidFill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51" name="Tekstvak 1050">
              <a:extLst>
                <a:ext uri="{FF2B5EF4-FFF2-40B4-BE49-F238E27FC236}">
                  <a16:creationId xmlns:a16="http://schemas.microsoft.com/office/drawing/2014/main" id="{18A8B8CB-881C-D0FB-1103-08534C925D4C}"/>
                </a:ext>
              </a:extLst>
            </p:cNvPr>
            <p:cNvSpPr txBox="1"/>
            <p:nvPr/>
          </p:nvSpPr>
          <p:spPr>
            <a:xfrm>
              <a:off x="7101670" y="3027471"/>
              <a:ext cx="240517" cy="3411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863949">
                <a:buClr>
                  <a:srgbClr val="4AC300"/>
                </a:buClr>
              </a:pPr>
              <a:r>
                <a:rPr lang="en-GB" sz="2000" b="1">
                  <a:solidFill>
                    <a:srgbClr val="FFFFFF"/>
                  </a:solidFill>
                  <a:latin typeface="Montserrat" panose="00000500000000000000" pitchFamily="2" charset="0"/>
                  <a:ea typeface="Open Sans" panose="020B0606030504020204" pitchFamily="34" charset="0"/>
                  <a:cs typeface="Open Sans" panose="020B0606030504020204" pitchFamily="34" charset="0"/>
                </a:rPr>
                <a:t>5</a:t>
              </a:r>
              <a:endParaRPr lang="en-GB" sz="2400" b="1">
                <a:solidFill>
                  <a:srgbClr val="FFFFFF"/>
                </a:solidFill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52" name="Tekstvak 1051">
              <a:extLst>
                <a:ext uri="{FF2B5EF4-FFF2-40B4-BE49-F238E27FC236}">
                  <a16:creationId xmlns:a16="http://schemas.microsoft.com/office/drawing/2014/main" id="{96632B85-CA05-7E3D-66B1-B2BA1F19BD3E}"/>
                </a:ext>
              </a:extLst>
            </p:cNvPr>
            <p:cNvSpPr txBox="1"/>
            <p:nvPr/>
          </p:nvSpPr>
          <p:spPr>
            <a:xfrm>
              <a:off x="7362666" y="2125660"/>
              <a:ext cx="240517" cy="3411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863949">
                <a:buClr>
                  <a:srgbClr val="4AC300"/>
                </a:buClr>
              </a:pPr>
              <a:r>
                <a:rPr lang="en-GB" sz="2000" b="1">
                  <a:solidFill>
                    <a:srgbClr val="FFFFFF"/>
                  </a:solidFill>
                  <a:latin typeface="Montserrat" panose="00000500000000000000" pitchFamily="2" charset="0"/>
                  <a:ea typeface="Open Sans" panose="020B0606030504020204" pitchFamily="34" charset="0"/>
                  <a:cs typeface="Open Sans" panose="020B0606030504020204" pitchFamily="34" charset="0"/>
                </a:rPr>
                <a:t>6</a:t>
              </a:r>
              <a:endParaRPr lang="en-GB" sz="2400" b="1">
                <a:solidFill>
                  <a:srgbClr val="FFFFFF"/>
                </a:solidFill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pic>
          <p:nvPicPr>
            <p:cNvPr id="1053" name="Picture 2" descr="Performance - Free business icons">
              <a:extLst>
                <a:ext uri="{FF2B5EF4-FFF2-40B4-BE49-F238E27FC236}">
                  <a16:creationId xmlns:a16="http://schemas.microsoft.com/office/drawing/2014/main" id="{99B8A537-7DA8-C607-6651-43CF8C7D6A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54882" y="2994925"/>
              <a:ext cx="544632" cy="544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61" name="Picture 4" descr="Communication Noomtah Outline icon">
              <a:extLst>
                <a:ext uri="{FF2B5EF4-FFF2-40B4-BE49-F238E27FC236}">
                  <a16:creationId xmlns:a16="http://schemas.microsoft.com/office/drawing/2014/main" id="{28F654E7-FDCD-A174-58CE-1B7E6ACD8B4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9078" y="1676558"/>
              <a:ext cx="495120" cy="4951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C7211020-7E03-9016-589C-C53B927ABB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688" y="6119725"/>
            <a:ext cx="431800" cy="360362"/>
          </a:xfrm>
        </p:spPr>
        <p:txBody>
          <a:bodyPr/>
          <a:lstStyle/>
          <a:p>
            <a:pPr marL="0" marR="0" lvl="0" indent="0" algn="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82D01A-ED25-4F30-894A-E32B487BCBA5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F4F6F8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pPr marL="0" marR="0" lvl="0" indent="0" algn="r" defTabSz="86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F4F6F8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A858C8E9-ED58-67B9-5887-FA11CEB489BF}"/>
              </a:ext>
            </a:extLst>
          </p:cNvPr>
          <p:cNvSpPr/>
          <p:nvPr/>
        </p:nvSpPr>
        <p:spPr>
          <a:xfrm>
            <a:off x="244" y="5804413"/>
            <a:ext cx="11520488" cy="67558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err="1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32425301-6CE2-7EA1-4459-50654DF1A6F8}"/>
              </a:ext>
            </a:extLst>
          </p:cNvPr>
          <p:cNvSpPr txBox="1">
            <a:spLocks/>
          </p:cNvSpPr>
          <p:nvPr/>
        </p:nvSpPr>
        <p:spPr>
          <a:xfrm>
            <a:off x="125479" y="5917710"/>
            <a:ext cx="10296239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BeYOND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B9D2A4FE-0C6A-3528-B2BE-F7124B0B26FA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10" name="Picture 2" descr="Nationale Coalitie Duurzame Digitalisering">
            <a:extLst>
              <a:ext uri="{FF2B5EF4-FFF2-40B4-BE49-F238E27FC236}">
                <a16:creationId xmlns:a16="http://schemas.microsoft.com/office/drawing/2014/main" id="{1301D602-7CD0-82A4-DA45-BD328B9C8E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4666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33073BA-6013-1AF3-7218-93A97C22B9DF}"/>
              </a:ext>
            </a:extLst>
          </p:cNvPr>
          <p:cNvSpPr/>
          <p:nvPr/>
        </p:nvSpPr>
        <p:spPr>
          <a:xfrm>
            <a:off x="-16932" y="-8028"/>
            <a:ext cx="11537333" cy="1755501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9" tIns="35999" rIns="35999" bIns="359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  <a:defRPr/>
            </a:pPr>
            <a:endParaRPr lang="en-GB" sz="90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TextBox 80">
            <a:extLst>
              <a:ext uri="{FF2B5EF4-FFF2-40B4-BE49-F238E27FC236}">
                <a16:creationId xmlns:a16="http://schemas.microsoft.com/office/drawing/2014/main" id="{E4B56F38-D319-1E33-83EB-0F04349BE264}"/>
              </a:ext>
            </a:extLst>
          </p:cNvPr>
          <p:cNvSpPr txBox="1"/>
          <p:nvPr/>
        </p:nvSpPr>
        <p:spPr>
          <a:xfrm>
            <a:off x="250907" y="388666"/>
            <a:ext cx="7487273" cy="862095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 defTabSz="914343">
              <a:defRPr/>
            </a:pPr>
            <a:r>
              <a:rPr lang="en-US" sz="16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ESG actieplan &amp; continu verbeteren</a:t>
            </a:r>
            <a:br>
              <a:rPr lang="en-US" sz="1800" b="1" kern="0" noProof="1">
                <a:solidFill>
                  <a:srgbClr val="F3FBF7"/>
                </a:solidFill>
                <a:latin typeface="Montserrat" panose="00000500000000000000" pitchFamily="2" charset="0"/>
              </a:rPr>
            </a:br>
            <a:r>
              <a:rPr lang="en-US" sz="3402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1. INZICHT</a:t>
            </a: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9CA16A5A-686F-1474-5513-0D81D3542A7A}"/>
              </a:ext>
            </a:extLst>
          </p:cNvPr>
          <p:cNvSpPr txBox="1"/>
          <p:nvPr/>
        </p:nvSpPr>
        <p:spPr>
          <a:xfrm>
            <a:off x="8652548" y="320475"/>
            <a:ext cx="2488638" cy="10518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64017">
              <a:buClr>
                <a:srgbClr val="236B47"/>
              </a:buClr>
            </a:pPr>
            <a:r>
              <a:rPr lang="nl-NL" sz="1039" kern="0" noProof="1">
                <a:solidFill>
                  <a:srgbClr val="F3FBF7"/>
                </a:solidFill>
                <a:latin typeface="Montserrat" panose="00000500000000000000" pitchFamily="2" charset="0"/>
              </a:rPr>
              <a:t>Dashboarding met actueel ESG-stuurinformatie op strategisch, tactisch en operationeel niveau</a:t>
            </a:r>
          </a:p>
          <a:p>
            <a:pPr defTabSz="864017">
              <a:buClr>
                <a:srgbClr val="236B47"/>
              </a:buClr>
            </a:pPr>
            <a:endParaRPr lang="nl-NL" sz="1039" kern="0" noProof="1">
              <a:solidFill>
                <a:srgbClr val="F3FBF7"/>
              </a:solidFill>
              <a:latin typeface="Montserrat" panose="00000500000000000000" pitchFamily="2" charset="0"/>
            </a:endParaRPr>
          </a:p>
          <a:p>
            <a:pPr defTabSz="864017">
              <a:buClr>
                <a:srgbClr val="236B47"/>
              </a:buClr>
            </a:pPr>
            <a:r>
              <a:rPr lang="nl-NL" sz="1039" kern="0" noProof="1">
                <a:solidFill>
                  <a:srgbClr val="F3FBF7"/>
                </a:solidFill>
                <a:latin typeface="Montserrat" panose="00000500000000000000" pitchFamily="2" charset="0"/>
              </a:rPr>
              <a:t>Inzicht in kansen en risic’s o.b.v. 0-meting ESG-performance</a:t>
            </a:r>
            <a:endParaRPr lang="en-GB" sz="1039">
              <a:solidFill>
                <a:srgbClr val="555C6B"/>
              </a:solidFill>
              <a:latin typeface="Calibri"/>
            </a:endParaRPr>
          </a:p>
        </p:txBody>
      </p:sp>
      <p:pic>
        <p:nvPicPr>
          <p:cNvPr id="1028" name="Picture 4" descr="Dashboard - Free electronics icons">
            <a:extLst>
              <a:ext uri="{FF2B5EF4-FFF2-40B4-BE49-F238E27FC236}">
                <a16:creationId xmlns:a16="http://schemas.microsoft.com/office/drawing/2014/main" id="{3DD2DA93-55C7-0A1C-C502-298C80008C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2000" y="412613"/>
            <a:ext cx="425311" cy="425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Aanpak - Meneeronline">
            <a:extLst>
              <a:ext uri="{FF2B5EF4-FFF2-40B4-BE49-F238E27FC236}">
                <a16:creationId xmlns:a16="http://schemas.microsoft.com/office/drawing/2014/main" id="{A92C1608-A956-DE56-CB8F-1284B37313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5941" y="926590"/>
            <a:ext cx="371369" cy="371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hthoek 11">
            <a:extLst>
              <a:ext uri="{FF2B5EF4-FFF2-40B4-BE49-F238E27FC236}">
                <a16:creationId xmlns:a16="http://schemas.microsoft.com/office/drawing/2014/main" id="{B7AAAB26-6CC3-B2C0-E2C3-5558965EAE59}"/>
              </a:ext>
            </a:extLst>
          </p:cNvPr>
          <p:cNvSpPr/>
          <p:nvPr/>
        </p:nvSpPr>
        <p:spPr>
          <a:xfrm>
            <a:off x="7843824" y="156495"/>
            <a:ext cx="3460678" cy="1426454"/>
          </a:xfrm>
          <a:prstGeom prst="rect">
            <a:avLst/>
          </a:prstGeom>
          <a:noFill/>
          <a:ln w="38100" cap="rnd">
            <a:solidFill>
              <a:srgbClr val="3FBE80"/>
            </a:solidFill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</a:pPr>
            <a:endParaRPr lang="en-GB" sz="85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80">
            <a:extLst>
              <a:ext uri="{FF2B5EF4-FFF2-40B4-BE49-F238E27FC236}">
                <a16:creationId xmlns:a16="http://schemas.microsoft.com/office/drawing/2014/main" id="{5A05B35E-9996-B08C-C4CF-0BC7F1095ED7}"/>
              </a:ext>
            </a:extLst>
          </p:cNvPr>
          <p:cNvSpPr txBox="1"/>
          <p:nvPr/>
        </p:nvSpPr>
        <p:spPr>
          <a:xfrm>
            <a:off x="250907" y="2177877"/>
            <a:ext cx="4648031" cy="2780185"/>
          </a:xfrm>
          <a:prstGeom prst="rect">
            <a:avLst/>
          </a:prstGeom>
          <a:noFill/>
        </p:spPr>
        <p:txBody>
          <a:bodyPr wrap="square" lIns="0" rtlCol="0" anchor="t">
            <a:spAutoFit/>
          </a:bodyPr>
          <a:lstStyle/>
          <a:p>
            <a:pPr marL="270005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Gebruik ESG inzicht op </a:t>
            </a:r>
            <a:r>
              <a:rPr lang="en-US" sz="1512" b="1" kern="0" noProof="1">
                <a:solidFill>
                  <a:srgbClr val="236B47"/>
                </a:solidFill>
                <a:latin typeface="Montserrat" panose="00000500000000000000" pitchFamily="2" charset="0"/>
              </a:rPr>
              <a:t>strategisch niveau </a:t>
            </a:r>
            <a:r>
              <a:rPr lang="en-US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voor definiëren kansen en risico’s voor corporate actieplan.</a:t>
            </a:r>
          </a:p>
          <a:p>
            <a:pPr marL="270005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Dashboard biedt actueel ESG inzicht op dagbasis en fungeert als </a:t>
            </a:r>
            <a:r>
              <a:rPr lang="en-US" sz="1512" b="1" kern="0" noProof="1">
                <a:solidFill>
                  <a:srgbClr val="236B47"/>
                </a:solidFill>
                <a:latin typeface="Montserrat" panose="00000500000000000000" pitchFamily="2" charset="0"/>
              </a:rPr>
              <a:t>0-meting</a:t>
            </a:r>
            <a:r>
              <a:rPr lang="en-US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 voor actieplan.</a:t>
            </a:r>
          </a:p>
          <a:p>
            <a:pPr marL="270005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Tijdens realisatie acties uit actieplan kan </a:t>
            </a:r>
            <a:r>
              <a:rPr lang="en-US" sz="1512" b="1" kern="0" noProof="1">
                <a:solidFill>
                  <a:srgbClr val="236B47"/>
                </a:solidFill>
                <a:latin typeface="Montserrat" panose="00000500000000000000" pitchFamily="2" charset="0"/>
              </a:rPr>
              <a:t>fact-based</a:t>
            </a:r>
            <a:r>
              <a:rPr lang="en-US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 gestuurd worden op daadwerkelijk ESG impact, waardoor de organisatie snel leert en effectiever wordt in verduurzaming.</a:t>
            </a:r>
          </a:p>
        </p:txBody>
      </p:sp>
      <p:grpSp>
        <p:nvGrpSpPr>
          <p:cNvPr id="19" name="Groep 18">
            <a:extLst>
              <a:ext uri="{FF2B5EF4-FFF2-40B4-BE49-F238E27FC236}">
                <a16:creationId xmlns:a16="http://schemas.microsoft.com/office/drawing/2014/main" id="{87DE7615-4F44-1217-40F6-3434A7557A3B}"/>
              </a:ext>
            </a:extLst>
          </p:cNvPr>
          <p:cNvGrpSpPr/>
          <p:nvPr/>
        </p:nvGrpSpPr>
        <p:grpSpPr>
          <a:xfrm>
            <a:off x="5252960" y="1988831"/>
            <a:ext cx="6096483" cy="3657889"/>
            <a:chOff x="4227350" y="2329888"/>
            <a:chExt cx="5865397" cy="3519237"/>
          </a:xfrm>
        </p:grpSpPr>
        <p:pic>
          <p:nvPicPr>
            <p:cNvPr id="17" name="Afbeelding 16">
              <a:extLst>
                <a:ext uri="{FF2B5EF4-FFF2-40B4-BE49-F238E27FC236}">
                  <a16:creationId xmlns:a16="http://schemas.microsoft.com/office/drawing/2014/main" id="{78574DE8-10E2-F062-1FAE-94A8945DCA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b="567"/>
            <a:stretch/>
          </p:blipFill>
          <p:spPr>
            <a:xfrm>
              <a:off x="5029199" y="2644672"/>
              <a:ext cx="4267201" cy="2386695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  <a:effectLst/>
          </p:spPr>
        </p:pic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C0DFBDF6-7710-2D26-E2B4-371876F26829}"/>
                </a:ext>
              </a:extLst>
            </p:cNvPr>
            <p:cNvSpPr/>
            <p:nvPr/>
          </p:nvSpPr>
          <p:spPr>
            <a:xfrm>
              <a:off x="5029199" y="5031367"/>
              <a:ext cx="4267201" cy="275675"/>
            </a:xfrm>
            <a:prstGeom prst="rect">
              <a:avLst/>
            </a:prstGeom>
            <a:solidFill>
              <a:srgbClr val="F2F2F2"/>
            </a:solidFill>
            <a:ln w="15875" cap="rnd">
              <a:noFill/>
              <a:round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64017">
                <a:buClr>
                  <a:srgbClr val="4AC300"/>
                </a:buClr>
              </a:pPr>
              <a:endParaRPr lang="en-GB" sz="850" err="1">
                <a:solidFill>
                  <a:srgbClr val="555C6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pic>
          <p:nvPicPr>
            <p:cNvPr id="1032" name="Picture 8" descr="Laptop PNG transparent image download, size: 1260x756px">
              <a:extLst>
                <a:ext uri="{FF2B5EF4-FFF2-40B4-BE49-F238E27FC236}">
                  <a16:creationId xmlns:a16="http://schemas.microsoft.com/office/drawing/2014/main" id="{185976BA-635D-8451-709F-3E00645392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27350" y="2329888"/>
              <a:ext cx="5865397" cy="35192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" name="Tijdelijke aanduiding voor dianummer 1">
            <a:extLst>
              <a:ext uri="{FF2B5EF4-FFF2-40B4-BE49-F238E27FC236}">
                <a16:creationId xmlns:a16="http://schemas.microsoft.com/office/drawing/2014/main" id="{9AAE7C9C-0E24-4024-49BA-B558F2BC48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688" y="6119725"/>
            <a:ext cx="431800" cy="360362"/>
          </a:xfrm>
        </p:spPr>
        <p:txBody>
          <a:bodyPr/>
          <a:lstStyle/>
          <a:p>
            <a:pPr marL="0" marR="0" lvl="0" indent="0" algn="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82D01A-ED25-4F30-894A-E32B487BCBA5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F4F6F8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pPr marL="0" marR="0" lvl="0" indent="0" algn="r" defTabSz="86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F4F6F8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6A98270F-C288-8E3A-421C-3AB0502FD69F}"/>
              </a:ext>
            </a:extLst>
          </p:cNvPr>
          <p:cNvSpPr/>
          <p:nvPr/>
        </p:nvSpPr>
        <p:spPr>
          <a:xfrm>
            <a:off x="244" y="5804413"/>
            <a:ext cx="11520488" cy="67558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err="1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5AD45B9-A40F-0310-E801-45D334AE4B53}"/>
              </a:ext>
            </a:extLst>
          </p:cNvPr>
          <p:cNvSpPr txBox="1">
            <a:spLocks/>
          </p:cNvSpPr>
          <p:nvPr/>
        </p:nvSpPr>
        <p:spPr>
          <a:xfrm>
            <a:off x="125479" y="5917710"/>
            <a:ext cx="10296239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BeYOND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61A9357E-3143-032C-903A-5417EB46CDC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6" name="Picture 2" descr="Nationale Coalitie Duurzame Digitalisering">
            <a:extLst>
              <a:ext uri="{FF2B5EF4-FFF2-40B4-BE49-F238E27FC236}">
                <a16:creationId xmlns:a16="http://schemas.microsoft.com/office/drawing/2014/main" id="{2D6DB115-9A68-B4B4-32E6-56426AC91A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51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1" name="Tekstvak 1060">
            <a:extLst>
              <a:ext uri="{FF2B5EF4-FFF2-40B4-BE49-F238E27FC236}">
                <a16:creationId xmlns:a16="http://schemas.microsoft.com/office/drawing/2014/main" id="{CD6374CD-E757-256D-76A6-8D20D7E6514E}"/>
              </a:ext>
            </a:extLst>
          </p:cNvPr>
          <p:cNvSpPr txBox="1"/>
          <p:nvPr/>
        </p:nvSpPr>
        <p:spPr>
          <a:xfrm>
            <a:off x="2881357" y="3038865"/>
            <a:ext cx="58006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64017">
              <a:defRPr/>
            </a:pPr>
            <a:r>
              <a:rPr lang="en-US" sz="1800" b="1" kern="0" noProof="1">
                <a:solidFill>
                  <a:srgbClr val="00BCE2"/>
                </a:solidFill>
                <a:latin typeface="Montserrat" panose="00000500000000000000" pitchFamily="2" charset="0"/>
              </a:rPr>
              <a:t> </a:t>
            </a:r>
            <a:endParaRPr lang="en-GB" sz="1800">
              <a:solidFill>
                <a:srgbClr val="555C6B"/>
              </a:solidFill>
              <a:latin typeface="Calibri"/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533073BA-6013-1AF3-7218-93A97C22B9DF}"/>
              </a:ext>
            </a:extLst>
          </p:cNvPr>
          <p:cNvSpPr/>
          <p:nvPr/>
        </p:nvSpPr>
        <p:spPr>
          <a:xfrm>
            <a:off x="-16932" y="-8028"/>
            <a:ext cx="11537333" cy="1295991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9" tIns="35999" rIns="35999" bIns="359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  <a:defRPr/>
            </a:pPr>
            <a:endParaRPr lang="en-GB" sz="90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TextBox 80">
            <a:extLst>
              <a:ext uri="{FF2B5EF4-FFF2-40B4-BE49-F238E27FC236}">
                <a16:creationId xmlns:a16="http://schemas.microsoft.com/office/drawing/2014/main" id="{7DA85560-FEC6-4055-FC25-FC76AE9A9FB2}"/>
              </a:ext>
            </a:extLst>
          </p:cNvPr>
          <p:cNvSpPr txBox="1"/>
          <p:nvPr/>
        </p:nvSpPr>
        <p:spPr>
          <a:xfrm>
            <a:off x="291663" y="166215"/>
            <a:ext cx="7487273" cy="862095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 defTabSz="914343">
              <a:defRPr/>
            </a:pPr>
            <a:r>
              <a:rPr lang="en-US" sz="16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ESG actieplan &amp; continu verbeteren</a:t>
            </a:r>
            <a:br>
              <a:rPr lang="en-US" sz="1800" b="1" kern="0" noProof="1">
                <a:solidFill>
                  <a:srgbClr val="F3FBF7"/>
                </a:solidFill>
                <a:latin typeface="Montserrat" panose="00000500000000000000" pitchFamily="2" charset="0"/>
              </a:rPr>
            </a:br>
            <a:r>
              <a:rPr lang="en-US" sz="3402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2. ALIGN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47DE6D80-550F-0591-F3B8-E564153A7D3F}"/>
              </a:ext>
            </a:extLst>
          </p:cNvPr>
          <p:cNvSpPr txBox="1"/>
          <p:nvPr/>
        </p:nvSpPr>
        <p:spPr>
          <a:xfrm>
            <a:off x="8575664" y="244218"/>
            <a:ext cx="2759159" cy="731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64017">
              <a:buClr>
                <a:srgbClr val="236B47"/>
              </a:buClr>
            </a:pPr>
            <a:r>
              <a:rPr lang="nl-NL" sz="1039" kern="0" noProof="1">
                <a:solidFill>
                  <a:srgbClr val="F3FBF7"/>
                </a:solidFill>
                <a:latin typeface="Montserrat" panose="00000500000000000000" pitchFamily="2" charset="0"/>
              </a:rPr>
              <a:t>Strategische integratie ESG topics incl. kwalitatief veranderverhaal</a:t>
            </a:r>
          </a:p>
          <a:p>
            <a:pPr defTabSz="864017">
              <a:buClr>
                <a:srgbClr val="236B47"/>
              </a:buClr>
            </a:pPr>
            <a:endParaRPr lang="nl-NL" sz="1039" kern="0" noProof="1">
              <a:solidFill>
                <a:srgbClr val="F3FBF7"/>
              </a:solidFill>
              <a:latin typeface="Montserrat" panose="00000500000000000000" pitchFamily="2" charset="0"/>
            </a:endParaRPr>
          </a:p>
          <a:p>
            <a:pPr defTabSz="864017">
              <a:buClr>
                <a:srgbClr val="236B47"/>
              </a:buClr>
            </a:pPr>
            <a:r>
              <a:rPr lang="nl-NL" sz="1039" kern="0" noProof="1">
                <a:solidFill>
                  <a:srgbClr val="F3FBF7"/>
                </a:solidFill>
                <a:latin typeface="Montserrat" panose="00000500000000000000" pitchFamily="2" charset="0"/>
              </a:rPr>
              <a:t>ESG onderdeel van risicomanagement</a:t>
            </a:r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9C6DD5B4-4463-5AD3-DE08-4F217987D843}"/>
              </a:ext>
            </a:extLst>
          </p:cNvPr>
          <p:cNvSpPr/>
          <p:nvPr/>
        </p:nvSpPr>
        <p:spPr>
          <a:xfrm>
            <a:off x="7843824" y="100838"/>
            <a:ext cx="3460678" cy="1056628"/>
          </a:xfrm>
          <a:prstGeom prst="rect">
            <a:avLst/>
          </a:prstGeom>
          <a:noFill/>
          <a:ln w="38100" cap="rnd">
            <a:solidFill>
              <a:srgbClr val="3FBE80"/>
            </a:solidFill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</a:pPr>
            <a:endParaRPr lang="en-GB" sz="85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TextBox 80">
            <a:extLst>
              <a:ext uri="{FF2B5EF4-FFF2-40B4-BE49-F238E27FC236}">
                <a16:creationId xmlns:a16="http://schemas.microsoft.com/office/drawing/2014/main" id="{246A6B38-572C-8645-3044-34E917205ABC}"/>
              </a:ext>
            </a:extLst>
          </p:cNvPr>
          <p:cNvSpPr txBox="1"/>
          <p:nvPr/>
        </p:nvSpPr>
        <p:spPr>
          <a:xfrm>
            <a:off x="234606" y="1835528"/>
            <a:ext cx="3588378" cy="3076996"/>
          </a:xfrm>
          <a:prstGeom prst="rect">
            <a:avLst/>
          </a:prstGeom>
          <a:noFill/>
        </p:spPr>
        <p:txBody>
          <a:bodyPr wrap="square" lIns="0" rtlCol="0" anchor="t">
            <a:spAutoFit/>
          </a:bodyPr>
          <a:lstStyle/>
          <a:p>
            <a:pPr marL="270005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12" b="1" kern="0" noProof="1">
                <a:solidFill>
                  <a:srgbClr val="236B47"/>
                </a:solidFill>
                <a:latin typeface="Montserrat" panose="00000500000000000000" pitchFamily="2" charset="0"/>
              </a:rPr>
              <a:t>Align</a:t>
            </a:r>
            <a:r>
              <a:rPr lang="en-US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 materiële ESG topics met bestaande bedrijfs- en duurzaamheidsstrategieën.</a:t>
            </a:r>
          </a:p>
          <a:p>
            <a:pPr marL="270005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En </a:t>
            </a:r>
            <a:r>
              <a:rPr lang="en-US" sz="1512" b="1" kern="0" noProof="1">
                <a:solidFill>
                  <a:srgbClr val="236B47"/>
                </a:solidFill>
                <a:latin typeface="Montserrat" panose="00000500000000000000" pitchFamily="2" charset="0"/>
              </a:rPr>
              <a:t>integreer</a:t>
            </a:r>
            <a:r>
              <a:rPr lang="en-US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 waar mogelijk om strategische waarde te benutten en dubbeling te voorkomen.</a:t>
            </a:r>
          </a:p>
          <a:p>
            <a:pPr marL="270005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Versterk de kwantitatieve ESG inzichten met een kwalitatief </a:t>
            </a:r>
            <a:r>
              <a:rPr lang="en-US" sz="1512" b="1" kern="0" noProof="1">
                <a:solidFill>
                  <a:srgbClr val="236B47"/>
                </a:solidFill>
                <a:latin typeface="Montserrat" panose="00000500000000000000" pitchFamily="2" charset="0"/>
              </a:rPr>
              <a:t>veranderverhaal</a:t>
            </a:r>
            <a:r>
              <a:rPr lang="en-US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.</a:t>
            </a:r>
          </a:p>
          <a:p>
            <a:pPr marL="270005" indent="-270005" defTabSz="914343">
              <a:spcBef>
                <a:spcPts val="283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Neem ESG risico’s op in bestaande </a:t>
            </a:r>
            <a:r>
              <a:rPr lang="en-US" sz="1512" b="1" kern="0" noProof="1">
                <a:solidFill>
                  <a:srgbClr val="236B47"/>
                </a:solidFill>
                <a:latin typeface="Montserrat" panose="00000500000000000000" pitchFamily="2" charset="0"/>
              </a:rPr>
              <a:t>risicomanagement</a:t>
            </a:r>
            <a:r>
              <a:rPr lang="en-US" sz="1512" kern="0" noProof="1">
                <a:solidFill>
                  <a:srgbClr val="236B47"/>
                </a:solidFill>
                <a:latin typeface="Montserrat" panose="00000500000000000000" pitchFamily="2" charset="0"/>
              </a:rPr>
              <a:t> structuur.</a:t>
            </a:r>
          </a:p>
        </p:txBody>
      </p:sp>
      <p:grpSp>
        <p:nvGrpSpPr>
          <p:cNvPr id="24" name="Groep 23">
            <a:extLst>
              <a:ext uri="{FF2B5EF4-FFF2-40B4-BE49-F238E27FC236}">
                <a16:creationId xmlns:a16="http://schemas.microsoft.com/office/drawing/2014/main" id="{A20435DB-D1A8-05BE-A41A-051A60EAD768}"/>
              </a:ext>
            </a:extLst>
          </p:cNvPr>
          <p:cNvGrpSpPr/>
          <p:nvPr/>
        </p:nvGrpSpPr>
        <p:grpSpPr>
          <a:xfrm>
            <a:off x="4353194" y="1595698"/>
            <a:ext cx="6278402" cy="3996200"/>
            <a:chOff x="4270482" y="1712156"/>
            <a:chExt cx="6644463" cy="4229197"/>
          </a:xfrm>
        </p:grpSpPr>
        <p:pic>
          <p:nvPicPr>
            <p:cNvPr id="14" name="Afbeelding 13">
              <a:extLst>
                <a:ext uri="{FF2B5EF4-FFF2-40B4-BE49-F238E27FC236}">
                  <a16:creationId xmlns:a16="http://schemas.microsoft.com/office/drawing/2014/main" id="{BFE930F4-D363-941B-7AF9-FA65BED8A1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270482" y="1712156"/>
              <a:ext cx="3531589" cy="1849982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8" name="Afbeelding 17">
              <a:extLst>
                <a:ext uri="{FF2B5EF4-FFF2-40B4-BE49-F238E27FC236}">
                  <a16:creationId xmlns:a16="http://schemas.microsoft.com/office/drawing/2014/main" id="{7C5F815B-B0D5-DDA9-5BB3-228C6AD4090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8707054" y="1712156"/>
              <a:ext cx="2207891" cy="190132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6150" name="Picture 6" descr="Healthcare and homecare partner | Mediq">
              <a:extLst>
                <a:ext uri="{FF2B5EF4-FFF2-40B4-BE49-F238E27FC236}">
                  <a16:creationId xmlns:a16="http://schemas.microsoft.com/office/drawing/2014/main" id="{38F05C13-5055-A811-6756-9577BA5F2AE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28875" y="3204167"/>
              <a:ext cx="882276" cy="308368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Afbeelding 15">
              <a:extLst>
                <a:ext uri="{FF2B5EF4-FFF2-40B4-BE49-F238E27FC236}">
                  <a16:creationId xmlns:a16="http://schemas.microsoft.com/office/drawing/2014/main" id="{1A9BB0E2-FCFB-2282-E386-A148F76810D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101136" y="3053396"/>
              <a:ext cx="522610" cy="41697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1" name="Afbeelding 20">
              <a:extLst>
                <a:ext uri="{FF2B5EF4-FFF2-40B4-BE49-F238E27FC236}">
                  <a16:creationId xmlns:a16="http://schemas.microsoft.com/office/drawing/2014/main" id="{F0BF2DA2-94E6-82CE-931F-715D691E245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270482" y="3756184"/>
              <a:ext cx="2830654" cy="218516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6152" name="Picture 8" descr="Maakt het net beter - werken bij alliander">
              <a:extLst>
                <a:ext uri="{FF2B5EF4-FFF2-40B4-BE49-F238E27FC236}">
                  <a16:creationId xmlns:a16="http://schemas.microsoft.com/office/drawing/2014/main" id="{2ED6D10F-F656-53F0-6C78-1A96D4E7AEA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1415"/>
            <a:stretch/>
          </p:blipFill>
          <p:spPr bwMode="auto">
            <a:xfrm>
              <a:off x="5938051" y="5434951"/>
              <a:ext cx="1072311" cy="423828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Afbeelding 22">
              <a:extLst>
                <a:ext uri="{FF2B5EF4-FFF2-40B4-BE49-F238E27FC236}">
                  <a16:creationId xmlns:a16="http://schemas.microsoft.com/office/drawing/2014/main" id="{B83B7734-0EFE-34F6-7F93-26B2563121F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7349706" y="3757277"/>
              <a:ext cx="3565239" cy="21829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6154" name="Picture 10" descr="Athlon | The Unit Company">
              <a:extLst>
                <a:ext uri="{FF2B5EF4-FFF2-40B4-BE49-F238E27FC236}">
                  <a16:creationId xmlns:a16="http://schemas.microsoft.com/office/drawing/2014/main" id="{B9428D0F-F189-E96D-2352-AB7278A34C0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6160" b="35117"/>
            <a:stretch/>
          </p:blipFill>
          <p:spPr bwMode="auto">
            <a:xfrm>
              <a:off x="9645404" y="5473902"/>
              <a:ext cx="1211859" cy="34808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156" name="Picture 12" descr="Mitigation - Free security icons">
            <a:extLst>
              <a:ext uri="{FF2B5EF4-FFF2-40B4-BE49-F238E27FC236}">
                <a16:creationId xmlns:a16="http://schemas.microsoft.com/office/drawing/2014/main" id="{86655B94-1665-C5FE-13F0-60E7FD563A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5207" y="630151"/>
            <a:ext cx="386647" cy="386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8" name="Picture 14" descr="Strategy - Free business icons">
            <a:extLst>
              <a:ext uri="{FF2B5EF4-FFF2-40B4-BE49-F238E27FC236}">
                <a16:creationId xmlns:a16="http://schemas.microsoft.com/office/drawing/2014/main" id="{AAF6E9F2-6CE2-1A6D-65F2-E06516892C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7531" y="233293"/>
            <a:ext cx="351497" cy="351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jdelijke aanduiding voor dianummer 1">
            <a:extLst>
              <a:ext uri="{FF2B5EF4-FFF2-40B4-BE49-F238E27FC236}">
                <a16:creationId xmlns:a16="http://schemas.microsoft.com/office/drawing/2014/main" id="{F925B9FB-3ECF-DAFC-E6C4-F876E9A8F5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688" y="6119725"/>
            <a:ext cx="431800" cy="360362"/>
          </a:xfrm>
        </p:spPr>
        <p:txBody>
          <a:bodyPr/>
          <a:lstStyle/>
          <a:p>
            <a:pPr marL="0" marR="0" lvl="0" indent="0" algn="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82D01A-ED25-4F30-894A-E32B487BCBA5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F4F6F8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pPr marL="0" marR="0" lvl="0" indent="0" algn="r" defTabSz="86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F4F6F8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8" name="Rechthoek 7">
            <a:extLst>
              <a:ext uri="{FF2B5EF4-FFF2-40B4-BE49-F238E27FC236}">
                <a16:creationId xmlns:a16="http://schemas.microsoft.com/office/drawing/2014/main" id="{EF52E1EA-929A-4874-271F-4E1465E85C2C}"/>
              </a:ext>
            </a:extLst>
          </p:cNvPr>
          <p:cNvSpPr/>
          <p:nvPr/>
        </p:nvSpPr>
        <p:spPr>
          <a:xfrm>
            <a:off x="244" y="5804413"/>
            <a:ext cx="11520488" cy="67558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err="1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C5BCA95-33F4-10BF-FFDD-00D3FEB80036}"/>
              </a:ext>
            </a:extLst>
          </p:cNvPr>
          <p:cNvSpPr txBox="1">
            <a:spLocks/>
          </p:cNvSpPr>
          <p:nvPr/>
        </p:nvSpPr>
        <p:spPr>
          <a:xfrm>
            <a:off x="125479" y="5917710"/>
            <a:ext cx="10296239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BeYOND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5C3DF80A-43BD-A70B-99B1-7047DA8FF080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6" name="Picture 2" descr="Nationale Coalitie Duurzame Digitalisering">
            <a:extLst>
              <a:ext uri="{FF2B5EF4-FFF2-40B4-BE49-F238E27FC236}">
                <a16:creationId xmlns:a16="http://schemas.microsoft.com/office/drawing/2014/main" id="{843010D9-4F2A-79C1-75E9-C077F4D09E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5306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1" name="Tekstvak 1060">
            <a:extLst>
              <a:ext uri="{FF2B5EF4-FFF2-40B4-BE49-F238E27FC236}">
                <a16:creationId xmlns:a16="http://schemas.microsoft.com/office/drawing/2014/main" id="{CD6374CD-E757-256D-76A6-8D20D7E6514E}"/>
              </a:ext>
            </a:extLst>
          </p:cNvPr>
          <p:cNvSpPr txBox="1"/>
          <p:nvPr/>
        </p:nvSpPr>
        <p:spPr>
          <a:xfrm>
            <a:off x="2881357" y="3038865"/>
            <a:ext cx="58006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64017">
              <a:defRPr/>
            </a:pPr>
            <a:r>
              <a:rPr lang="en-US" sz="1800" b="1" kern="0" noProof="1">
                <a:solidFill>
                  <a:srgbClr val="00BCE2"/>
                </a:solidFill>
                <a:latin typeface="Montserrat" panose="00000500000000000000" pitchFamily="2" charset="0"/>
              </a:rPr>
              <a:t> </a:t>
            </a:r>
            <a:endParaRPr lang="en-GB" sz="1800">
              <a:solidFill>
                <a:srgbClr val="555C6B"/>
              </a:solidFill>
              <a:latin typeface="Calibri"/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533073BA-6013-1AF3-7218-93A97C22B9DF}"/>
              </a:ext>
            </a:extLst>
          </p:cNvPr>
          <p:cNvSpPr/>
          <p:nvPr/>
        </p:nvSpPr>
        <p:spPr>
          <a:xfrm>
            <a:off x="-16932" y="-8028"/>
            <a:ext cx="11537333" cy="1755501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9" tIns="35999" rIns="35999" bIns="359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  <a:defRPr/>
            </a:pPr>
            <a:endParaRPr lang="en-GB" sz="90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TextBox 80">
            <a:extLst>
              <a:ext uri="{FF2B5EF4-FFF2-40B4-BE49-F238E27FC236}">
                <a16:creationId xmlns:a16="http://schemas.microsoft.com/office/drawing/2014/main" id="{3AEC712C-C2C5-BE1F-A63C-81FDE89E73CF}"/>
              </a:ext>
            </a:extLst>
          </p:cNvPr>
          <p:cNvSpPr txBox="1"/>
          <p:nvPr/>
        </p:nvSpPr>
        <p:spPr>
          <a:xfrm>
            <a:off x="238547" y="238870"/>
            <a:ext cx="7487273" cy="1104148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 defTabSz="914343">
              <a:defRPr/>
            </a:pPr>
            <a:r>
              <a:rPr lang="en-US" sz="16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ESG actieplan &amp; continu verbeteren</a:t>
            </a:r>
            <a:br>
              <a:rPr lang="en-US" sz="1800" b="1" kern="0" noProof="1">
                <a:solidFill>
                  <a:srgbClr val="F3FBF7"/>
                </a:solidFill>
                <a:latin typeface="Montserrat" panose="00000500000000000000" pitchFamily="2" charset="0"/>
              </a:rPr>
            </a:br>
            <a:r>
              <a:rPr lang="en-US" sz="3402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3. ONTWERP</a:t>
            </a:r>
          </a:p>
          <a:p>
            <a:pPr defTabSz="914343">
              <a:spcBef>
                <a:spcPts val="283"/>
              </a:spcBef>
              <a:spcAft>
                <a:spcPts val="200"/>
              </a:spcAft>
              <a:defRPr/>
            </a:pPr>
            <a:r>
              <a:rPr lang="en-US" sz="1323" kern="0" noProof="1">
                <a:solidFill>
                  <a:srgbClr val="F3FBF7"/>
                </a:solidFill>
                <a:latin typeface="Montserrat" panose="00000500000000000000" pitchFamily="2" charset="0"/>
              </a:rPr>
              <a:t>actieplan o.b.v. alignment, 0-meting, ESG-KPI’s en -doelstellingen.</a:t>
            </a:r>
          </a:p>
        </p:txBody>
      </p:sp>
      <p:sp>
        <p:nvSpPr>
          <p:cNvPr id="16" name="Rechthoek 15">
            <a:extLst>
              <a:ext uri="{FF2B5EF4-FFF2-40B4-BE49-F238E27FC236}">
                <a16:creationId xmlns:a16="http://schemas.microsoft.com/office/drawing/2014/main" id="{9E1906E4-3762-6029-72BB-FB221517065A}"/>
              </a:ext>
            </a:extLst>
          </p:cNvPr>
          <p:cNvSpPr/>
          <p:nvPr/>
        </p:nvSpPr>
        <p:spPr>
          <a:xfrm>
            <a:off x="4866333" y="2490922"/>
            <a:ext cx="4691229" cy="824980"/>
          </a:xfrm>
          <a:prstGeom prst="rect">
            <a:avLst/>
          </a:prstGeom>
          <a:solidFill>
            <a:srgbClr val="00B050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32008"/>
            <a:endParaRPr lang="en-GB" sz="1701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7" name="Rechthoek 16">
            <a:extLst>
              <a:ext uri="{FF2B5EF4-FFF2-40B4-BE49-F238E27FC236}">
                <a16:creationId xmlns:a16="http://schemas.microsoft.com/office/drawing/2014/main" id="{ECE95C75-7229-7BF7-05C4-250525F72C84}"/>
              </a:ext>
            </a:extLst>
          </p:cNvPr>
          <p:cNvSpPr/>
          <p:nvPr/>
        </p:nvSpPr>
        <p:spPr>
          <a:xfrm>
            <a:off x="4866333" y="3393468"/>
            <a:ext cx="4691229" cy="824980"/>
          </a:xfrm>
          <a:prstGeom prst="rect">
            <a:avLst/>
          </a:prstGeom>
          <a:solidFill>
            <a:srgbClr val="00B050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32008"/>
            <a:endParaRPr lang="en-GB" sz="1701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5543DDB3-7821-9FAD-EFCA-46FD7FE9D774}"/>
              </a:ext>
            </a:extLst>
          </p:cNvPr>
          <p:cNvSpPr/>
          <p:nvPr/>
        </p:nvSpPr>
        <p:spPr>
          <a:xfrm>
            <a:off x="4869610" y="4297024"/>
            <a:ext cx="4691229" cy="824980"/>
          </a:xfrm>
          <a:prstGeom prst="rect">
            <a:avLst/>
          </a:prstGeom>
          <a:solidFill>
            <a:srgbClr val="00B050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32008"/>
            <a:endParaRPr lang="en-GB" sz="1701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9" name="Rechthoek 18">
            <a:extLst>
              <a:ext uri="{FF2B5EF4-FFF2-40B4-BE49-F238E27FC236}">
                <a16:creationId xmlns:a16="http://schemas.microsoft.com/office/drawing/2014/main" id="{B64A0EB6-F3C4-CC12-F224-82E9C48CFFC3}"/>
              </a:ext>
            </a:extLst>
          </p:cNvPr>
          <p:cNvSpPr/>
          <p:nvPr/>
        </p:nvSpPr>
        <p:spPr>
          <a:xfrm>
            <a:off x="9557559" y="2492378"/>
            <a:ext cx="1587876" cy="824980"/>
          </a:xfrm>
          <a:prstGeom prst="rect">
            <a:avLst/>
          </a:prstGeom>
          <a:solidFill>
            <a:srgbClr val="236B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32008"/>
            <a:r>
              <a:rPr lang="en-GB" sz="760">
                <a:solidFill>
                  <a:srgbClr val="F4F6F8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KPI’S &amp; DOELEN</a:t>
            </a:r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AFE5D446-12A3-9ABF-EFE3-29EA38B6DB3C}"/>
              </a:ext>
            </a:extLst>
          </p:cNvPr>
          <p:cNvSpPr/>
          <p:nvPr/>
        </p:nvSpPr>
        <p:spPr>
          <a:xfrm>
            <a:off x="9557561" y="3393468"/>
            <a:ext cx="1587876" cy="824980"/>
          </a:xfrm>
          <a:prstGeom prst="rect">
            <a:avLst/>
          </a:prstGeom>
          <a:solidFill>
            <a:srgbClr val="236B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32008"/>
            <a:r>
              <a:rPr lang="en-GB" sz="760">
                <a:solidFill>
                  <a:srgbClr val="F4F6F8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KPI’S &amp; DOELEN</a:t>
            </a:r>
          </a:p>
        </p:txBody>
      </p:sp>
      <p:sp>
        <p:nvSpPr>
          <p:cNvPr id="21" name="Rechthoek 20">
            <a:extLst>
              <a:ext uri="{FF2B5EF4-FFF2-40B4-BE49-F238E27FC236}">
                <a16:creationId xmlns:a16="http://schemas.microsoft.com/office/drawing/2014/main" id="{A19B0F31-F582-B4A5-9966-10B8064F884D}"/>
              </a:ext>
            </a:extLst>
          </p:cNvPr>
          <p:cNvSpPr/>
          <p:nvPr/>
        </p:nvSpPr>
        <p:spPr>
          <a:xfrm>
            <a:off x="9557559" y="4294557"/>
            <a:ext cx="1587876" cy="824980"/>
          </a:xfrm>
          <a:prstGeom prst="rect">
            <a:avLst/>
          </a:prstGeom>
          <a:solidFill>
            <a:srgbClr val="236B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32008"/>
            <a:r>
              <a:rPr lang="en-GB" sz="760">
                <a:solidFill>
                  <a:srgbClr val="F4F6F8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KPI’S &amp; DOELEN</a:t>
            </a:r>
          </a:p>
        </p:txBody>
      </p:sp>
      <p:sp>
        <p:nvSpPr>
          <p:cNvPr id="22" name="Pijl: vijfhoek 21">
            <a:extLst>
              <a:ext uri="{FF2B5EF4-FFF2-40B4-BE49-F238E27FC236}">
                <a16:creationId xmlns:a16="http://schemas.microsoft.com/office/drawing/2014/main" id="{FCD5F6A6-172D-3F58-D780-8A30F9089175}"/>
              </a:ext>
            </a:extLst>
          </p:cNvPr>
          <p:cNvSpPr/>
          <p:nvPr/>
        </p:nvSpPr>
        <p:spPr>
          <a:xfrm>
            <a:off x="4910792" y="2649168"/>
            <a:ext cx="1178216" cy="313641"/>
          </a:xfrm>
          <a:prstGeom prst="homePlate">
            <a:avLst/>
          </a:prstGeom>
          <a:noFill/>
          <a:ln w="9525">
            <a:solidFill>
              <a:srgbClr val="236B4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1" rIns="43201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32008"/>
            <a:r>
              <a:rPr lang="nl-NL" sz="756">
                <a:solidFill>
                  <a:srgbClr val="236B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E</a:t>
            </a:r>
          </a:p>
        </p:txBody>
      </p:sp>
      <p:sp>
        <p:nvSpPr>
          <p:cNvPr id="23" name="Pijl: vijfhoek 22">
            <a:extLst>
              <a:ext uri="{FF2B5EF4-FFF2-40B4-BE49-F238E27FC236}">
                <a16:creationId xmlns:a16="http://schemas.microsoft.com/office/drawing/2014/main" id="{45347F2F-6D7E-05A0-5D55-255FB54F3D35}"/>
              </a:ext>
            </a:extLst>
          </p:cNvPr>
          <p:cNvSpPr/>
          <p:nvPr/>
        </p:nvSpPr>
        <p:spPr>
          <a:xfrm>
            <a:off x="6177658" y="2921773"/>
            <a:ext cx="1178216" cy="313641"/>
          </a:xfrm>
          <a:prstGeom prst="homePlate">
            <a:avLst/>
          </a:prstGeom>
          <a:solidFill>
            <a:srgbClr val="236B47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1" rIns="43201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32008"/>
            <a:r>
              <a:rPr lang="nl-NL" sz="760">
                <a:solidFill>
                  <a:srgbClr val="F4F6F8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ACTIE</a:t>
            </a:r>
          </a:p>
        </p:txBody>
      </p:sp>
      <p:sp>
        <p:nvSpPr>
          <p:cNvPr id="24" name="Pijl: vijfhoek 23">
            <a:extLst>
              <a:ext uri="{FF2B5EF4-FFF2-40B4-BE49-F238E27FC236}">
                <a16:creationId xmlns:a16="http://schemas.microsoft.com/office/drawing/2014/main" id="{51F7A69B-C3D3-8F37-81E9-893C44415CDD}"/>
              </a:ext>
            </a:extLst>
          </p:cNvPr>
          <p:cNvSpPr/>
          <p:nvPr/>
        </p:nvSpPr>
        <p:spPr>
          <a:xfrm>
            <a:off x="8052161" y="2612369"/>
            <a:ext cx="1178216" cy="313641"/>
          </a:xfrm>
          <a:prstGeom prst="homePlate">
            <a:avLst/>
          </a:prstGeom>
          <a:noFill/>
          <a:ln w="9525">
            <a:solidFill>
              <a:srgbClr val="236B4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1" rIns="43201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32008"/>
            <a:r>
              <a:rPr lang="nl-NL" sz="756">
                <a:solidFill>
                  <a:srgbClr val="236B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E</a:t>
            </a:r>
          </a:p>
        </p:txBody>
      </p:sp>
      <p:sp>
        <p:nvSpPr>
          <p:cNvPr id="25" name="Pijl: vijfhoek 24">
            <a:extLst>
              <a:ext uri="{FF2B5EF4-FFF2-40B4-BE49-F238E27FC236}">
                <a16:creationId xmlns:a16="http://schemas.microsoft.com/office/drawing/2014/main" id="{85B1DCC1-B250-D57F-11DF-705E575510DD}"/>
              </a:ext>
            </a:extLst>
          </p:cNvPr>
          <p:cNvSpPr/>
          <p:nvPr/>
        </p:nvSpPr>
        <p:spPr>
          <a:xfrm>
            <a:off x="5588549" y="3786183"/>
            <a:ext cx="1178216" cy="313641"/>
          </a:xfrm>
          <a:prstGeom prst="homePlate">
            <a:avLst/>
          </a:prstGeom>
          <a:noFill/>
          <a:ln w="9525">
            <a:solidFill>
              <a:srgbClr val="236B4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1" rIns="43201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32008"/>
            <a:r>
              <a:rPr lang="nl-NL" sz="756">
                <a:solidFill>
                  <a:srgbClr val="236B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E</a:t>
            </a:r>
          </a:p>
        </p:txBody>
      </p:sp>
      <p:sp>
        <p:nvSpPr>
          <p:cNvPr id="26" name="Pijl: vijfhoek 25">
            <a:extLst>
              <a:ext uri="{FF2B5EF4-FFF2-40B4-BE49-F238E27FC236}">
                <a16:creationId xmlns:a16="http://schemas.microsoft.com/office/drawing/2014/main" id="{C494F412-4D98-EE49-0524-EA42C9802AAF}"/>
              </a:ext>
            </a:extLst>
          </p:cNvPr>
          <p:cNvSpPr/>
          <p:nvPr/>
        </p:nvSpPr>
        <p:spPr>
          <a:xfrm>
            <a:off x="6961547" y="3537991"/>
            <a:ext cx="1178216" cy="313641"/>
          </a:xfrm>
          <a:prstGeom prst="homePlate">
            <a:avLst/>
          </a:prstGeom>
          <a:solidFill>
            <a:srgbClr val="236B47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1" rIns="43201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32008"/>
            <a:r>
              <a:rPr lang="nl-NL" sz="760">
                <a:solidFill>
                  <a:srgbClr val="F4F6F8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ACTIE</a:t>
            </a:r>
          </a:p>
        </p:txBody>
      </p:sp>
      <p:sp>
        <p:nvSpPr>
          <p:cNvPr id="27" name="Pijl: vijfhoek 26">
            <a:extLst>
              <a:ext uri="{FF2B5EF4-FFF2-40B4-BE49-F238E27FC236}">
                <a16:creationId xmlns:a16="http://schemas.microsoft.com/office/drawing/2014/main" id="{E215D981-A054-48F8-D5B7-8D9558AEFF26}"/>
              </a:ext>
            </a:extLst>
          </p:cNvPr>
          <p:cNvSpPr/>
          <p:nvPr/>
        </p:nvSpPr>
        <p:spPr>
          <a:xfrm>
            <a:off x="8178419" y="3538993"/>
            <a:ext cx="1178216" cy="313641"/>
          </a:xfrm>
          <a:prstGeom prst="homePlate">
            <a:avLst/>
          </a:prstGeom>
          <a:noFill/>
          <a:ln w="9525">
            <a:solidFill>
              <a:srgbClr val="236B4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1" rIns="43201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32008"/>
            <a:r>
              <a:rPr lang="nl-NL" sz="756">
                <a:solidFill>
                  <a:srgbClr val="236B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E</a:t>
            </a:r>
          </a:p>
        </p:txBody>
      </p:sp>
      <p:sp>
        <p:nvSpPr>
          <p:cNvPr id="28" name="Pijl: vijfhoek 27">
            <a:extLst>
              <a:ext uri="{FF2B5EF4-FFF2-40B4-BE49-F238E27FC236}">
                <a16:creationId xmlns:a16="http://schemas.microsoft.com/office/drawing/2014/main" id="{32A5E5AD-E126-BA3F-1AF4-D4ED6A8D0ADC}"/>
              </a:ext>
            </a:extLst>
          </p:cNvPr>
          <p:cNvSpPr/>
          <p:nvPr/>
        </p:nvSpPr>
        <p:spPr>
          <a:xfrm>
            <a:off x="4957286" y="4652605"/>
            <a:ext cx="1178216" cy="313641"/>
          </a:xfrm>
          <a:prstGeom prst="homePlate">
            <a:avLst/>
          </a:prstGeom>
          <a:solidFill>
            <a:srgbClr val="236B47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1" rIns="43201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32008"/>
            <a:r>
              <a:rPr lang="nl-NL" sz="760">
                <a:solidFill>
                  <a:srgbClr val="F4F6F8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ACTIE</a:t>
            </a:r>
          </a:p>
        </p:txBody>
      </p:sp>
      <p:sp>
        <p:nvSpPr>
          <p:cNvPr id="29" name="Pijl: vijfhoek 28">
            <a:extLst>
              <a:ext uri="{FF2B5EF4-FFF2-40B4-BE49-F238E27FC236}">
                <a16:creationId xmlns:a16="http://schemas.microsoft.com/office/drawing/2014/main" id="{312BE796-BC82-7BCE-C5A4-0FD05CE4C991}"/>
              </a:ext>
            </a:extLst>
          </p:cNvPr>
          <p:cNvSpPr/>
          <p:nvPr/>
        </p:nvSpPr>
        <p:spPr>
          <a:xfrm>
            <a:off x="6397404" y="4413347"/>
            <a:ext cx="1178216" cy="313641"/>
          </a:xfrm>
          <a:prstGeom prst="homePlate">
            <a:avLst/>
          </a:prstGeom>
          <a:noFill/>
          <a:ln w="9525">
            <a:solidFill>
              <a:srgbClr val="236B4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1" rIns="43201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32008"/>
            <a:r>
              <a:rPr lang="nl-NL" sz="756">
                <a:solidFill>
                  <a:srgbClr val="236B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E</a:t>
            </a:r>
          </a:p>
        </p:txBody>
      </p:sp>
      <p:sp>
        <p:nvSpPr>
          <p:cNvPr id="30" name="Pijl: vijfhoek 29">
            <a:extLst>
              <a:ext uri="{FF2B5EF4-FFF2-40B4-BE49-F238E27FC236}">
                <a16:creationId xmlns:a16="http://schemas.microsoft.com/office/drawing/2014/main" id="{A4E98633-E2E3-8D8F-5723-05180BA98102}"/>
              </a:ext>
            </a:extLst>
          </p:cNvPr>
          <p:cNvSpPr/>
          <p:nvPr/>
        </p:nvSpPr>
        <p:spPr>
          <a:xfrm>
            <a:off x="8344903" y="4703049"/>
            <a:ext cx="1178216" cy="313641"/>
          </a:xfrm>
          <a:prstGeom prst="homePlate">
            <a:avLst/>
          </a:prstGeom>
          <a:solidFill>
            <a:srgbClr val="236B47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1" rIns="43201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32008"/>
            <a:r>
              <a:rPr lang="nl-NL" sz="760">
                <a:solidFill>
                  <a:srgbClr val="F4F6F8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ACTIE</a:t>
            </a:r>
          </a:p>
        </p:txBody>
      </p:sp>
      <p:sp>
        <p:nvSpPr>
          <p:cNvPr id="10" name="Vierkante haak links 9">
            <a:extLst>
              <a:ext uri="{FF2B5EF4-FFF2-40B4-BE49-F238E27FC236}">
                <a16:creationId xmlns:a16="http://schemas.microsoft.com/office/drawing/2014/main" id="{EB567CCD-9C8F-39F1-3D7C-55B8A979A69F}"/>
              </a:ext>
            </a:extLst>
          </p:cNvPr>
          <p:cNvSpPr/>
          <p:nvPr/>
        </p:nvSpPr>
        <p:spPr>
          <a:xfrm>
            <a:off x="3981905" y="2499871"/>
            <a:ext cx="112650" cy="2592956"/>
          </a:xfrm>
          <a:prstGeom prst="leftBracket">
            <a:avLst/>
          </a:prstGeom>
          <a:ln>
            <a:solidFill>
              <a:srgbClr val="236B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32008"/>
            <a:endParaRPr lang="en-GB" sz="1701">
              <a:solidFill>
                <a:srgbClr val="555C6B"/>
              </a:solidFill>
              <a:latin typeface="Calibri"/>
            </a:endParaRPr>
          </a:p>
        </p:txBody>
      </p:sp>
      <p:sp>
        <p:nvSpPr>
          <p:cNvPr id="12" name="Vierkante haak links 11">
            <a:extLst>
              <a:ext uri="{FF2B5EF4-FFF2-40B4-BE49-F238E27FC236}">
                <a16:creationId xmlns:a16="http://schemas.microsoft.com/office/drawing/2014/main" id="{16B89C68-9AB2-80E1-FF89-F209C3352E8D}"/>
              </a:ext>
            </a:extLst>
          </p:cNvPr>
          <p:cNvSpPr/>
          <p:nvPr/>
        </p:nvSpPr>
        <p:spPr>
          <a:xfrm rot="5400000">
            <a:off x="7165321" y="43051"/>
            <a:ext cx="102409" cy="4579324"/>
          </a:xfrm>
          <a:prstGeom prst="leftBracket">
            <a:avLst/>
          </a:prstGeom>
          <a:ln>
            <a:solidFill>
              <a:srgbClr val="236B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32008"/>
            <a:endParaRPr lang="en-GB" sz="1701">
              <a:solidFill>
                <a:srgbClr val="555C6B"/>
              </a:solidFill>
              <a:latin typeface="Calibri"/>
            </a:endParaRP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9A2E4582-5F32-DED7-2BB3-B82DE70F6E79}"/>
              </a:ext>
            </a:extLst>
          </p:cNvPr>
          <p:cNvSpPr txBox="1"/>
          <p:nvPr/>
        </p:nvSpPr>
        <p:spPr>
          <a:xfrm>
            <a:off x="8652548" y="254639"/>
            <a:ext cx="2651954" cy="12117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64017">
              <a:buClr>
                <a:srgbClr val="236B47"/>
              </a:buClr>
            </a:pPr>
            <a:r>
              <a:rPr lang="nl-NL" sz="1039" kern="0" noProof="1">
                <a:solidFill>
                  <a:srgbClr val="F3FBF7"/>
                </a:solidFill>
                <a:latin typeface="Montserrat" panose="00000500000000000000" pitchFamily="2" charset="0"/>
              </a:rPr>
              <a:t>Organisatie breed actieplan, (a) lange termijn, (b) strategisch (3-5 jaar) en (c) tactisch (1 jaar)</a:t>
            </a:r>
          </a:p>
          <a:p>
            <a:pPr defTabSz="864017">
              <a:buClr>
                <a:srgbClr val="236B47"/>
              </a:buClr>
            </a:pPr>
            <a:endParaRPr lang="nl-NL" sz="1039" kern="0" noProof="1">
              <a:solidFill>
                <a:srgbClr val="F3FBF7"/>
              </a:solidFill>
              <a:latin typeface="Montserrat" panose="00000500000000000000" pitchFamily="2" charset="0"/>
            </a:endParaRPr>
          </a:p>
          <a:p>
            <a:pPr defTabSz="864017">
              <a:buClr>
                <a:srgbClr val="236B47"/>
              </a:buClr>
            </a:pPr>
            <a:r>
              <a:rPr lang="nl-NL" sz="1039" kern="0" noProof="1">
                <a:solidFill>
                  <a:srgbClr val="F3FBF7"/>
                </a:solidFill>
                <a:latin typeface="Montserrat" panose="00000500000000000000" pitchFamily="2" charset="0"/>
              </a:rPr>
              <a:t>Bestaande initiatieven geïntegreerd en ‘blinde vlekken’ met acties ingevuld</a:t>
            </a:r>
          </a:p>
        </p:txBody>
      </p:sp>
      <p:sp>
        <p:nvSpPr>
          <p:cNvPr id="33" name="Rechthoek 32">
            <a:extLst>
              <a:ext uri="{FF2B5EF4-FFF2-40B4-BE49-F238E27FC236}">
                <a16:creationId xmlns:a16="http://schemas.microsoft.com/office/drawing/2014/main" id="{CFDD664C-C059-D5A7-0E6E-AEE0711894E8}"/>
              </a:ext>
            </a:extLst>
          </p:cNvPr>
          <p:cNvSpPr/>
          <p:nvPr/>
        </p:nvSpPr>
        <p:spPr>
          <a:xfrm>
            <a:off x="7843824" y="156495"/>
            <a:ext cx="3460678" cy="1426454"/>
          </a:xfrm>
          <a:prstGeom prst="rect">
            <a:avLst/>
          </a:prstGeom>
          <a:noFill/>
          <a:ln w="38100" cap="rnd">
            <a:solidFill>
              <a:srgbClr val="3FBE80"/>
            </a:solidFill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</a:pPr>
            <a:endParaRPr lang="en-GB" sz="85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" name="TextBox 80">
            <a:extLst>
              <a:ext uri="{FF2B5EF4-FFF2-40B4-BE49-F238E27FC236}">
                <a16:creationId xmlns:a16="http://schemas.microsoft.com/office/drawing/2014/main" id="{AA4DBE9E-BCC6-607C-FFE3-43F11CDB59A0}"/>
              </a:ext>
            </a:extLst>
          </p:cNvPr>
          <p:cNvSpPr txBox="1"/>
          <p:nvPr/>
        </p:nvSpPr>
        <p:spPr>
          <a:xfrm>
            <a:off x="196668" y="2146532"/>
            <a:ext cx="3542264" cy="3118803"/>
          </a:xfrm>
          <a:prstGeom prst="rect">
            <a:avLst/>
          </a:prstGeom>
          <a:noFill/>
        </p:spPr>
        <p:txBody>
          <a:bodyPr wrap="square" lIns="0" rtlCol="0" anchor="t">
            <a:spAutoFit/>
          </a:bodyPr>
          <a:lstStyle/>
          <a:p>
            <a:pPr marL="324006" indent="-324006" defTabSz="914343">
              <a:spcBef>
                <a:spcPts val="283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US" sz="1200" b="1" kern="0" noProof="1">
                <a:solidFill>
                  <a:srgbClr val="236B47"/>
                </a:solidFill>
                <a:latin typeface="Montserrat" panose="00000500000000000000" pitchFamily="2" charset="0"/>
              </a:rPr>
              <a:t>Structureer </a:t>
            </a:r>
            <a:r>
              <a:rPr lang="en-US" sz="1200" kern="0" noProof="1">
                <a:solidFill>
                  <a:srgbClr val="236B47"/>
                </a:solidFill>
                <a:latin typeface="Montserrat" panose="00000500000000000000" pitchFamily="2" charset="0"/>
              </a:rPr>
              <a:t>organisatiebreed</a:t>
            </a:r>
            <a:r>
              <a:rPr lang="en-US" sz="1200" b="1" kern="0" noProof="1">
                <a:solidFill>
                  <a:srgbClr val="236B47"/>
                </a:solidFill>
                <a:latin typeface="Montserrat" panose="00000500000000000000" pitchFamily="2" charset="0"/>
              </a:rPr>
              <a:t> </a:t>
            </a:r>
            <a:r>
              <a:rPr lang="en-US" sz="1200" kern="0" noProof="1">
                <a:solidFill>
                  <a:srgbClr val="236B47"/>
                </a:solidFill>
                <a:latin typeface="Montserrat" panose="00000500000000000000" pitchFamily="2" charset="0"/>
              </a:rPr>
              <a:t>actieplan o.b.v. bestaande strategie alignment &amp; ‘CO2 reductie plan’.</a:t>
            </a:r>
          </a:p>
          <a:p>
            <a:pPr marL="324006" indent="-324006" defTabSz="914343">
              <a:spcBef>
                <a:spcPts val="283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US" sz="1200" b="1" kern="0" noProof="1">
                <a:solidFill>
                  <a:srgbClr val="236B47"/>
                </a:solidFill>
                <a:latin typeface="Montserrat" panose="00000500000000000000" pitchFamily="2" charset="0"/>
              </a:rPr>
              <a:t>KPI’s </a:t>
            </a:r>
            <a:r>
              <a:rPr lang="en-US" sz="1200" kern="0" noProof="1">
                <a:solidFill>
                  <a:srgbClr val="236B47"/>
                </a:solidFill>
                <a:latin typeface="Montserrat" panose="00000500000000000000" pitchFamily="2" charset="0"/>
              </a:rPr>
              <a:t>o.b.v. materiële topics en </a:t>
            </a:r>
            <a:r>
              <a:rPr lang="en-US" sz="1200" b="1" kern="0" noProof="1">
                <a:solidFill>
                  <a:srgbClr val="236B47"/>
                </a:solidFill>
                <a:latin typeface="Montserrat" panose="00000500000000000000" pitchFamily="2" charset="0"/>
              </a:rPr>
              <a:t>0-meting</a:t>
            </a:r>
            <a:r>
              <a:rPr lang="en-US" sz="1200" kern="0" noProof="1">
                <a:solidFill>
                  <a:srgbClr val="236B47"/>
                </a:solidFill>
                <a:latin typeface="Montserrat" panose="00000500000000000000" pitchFamily="2" charset="0"/>
              </a:rPr>
              <a:t> o.b.v. inzichten vanuit dashboard.</a:t>
            </a:r>
          </a:p>
          <a:p>
            <a:pPr marL="324006" indent="-324006" defTabSz="914343">
              <a:spcBef>
                <a:spcPts val="283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US" sz="1200" b="1" kern="0" noProof="1">
                <a:solidFill>
                  <a:srgbClr val="236B47"/>
                </a:solidFill>
                <a:latin typeface="Montserrat" panose="00000500000000000000" pitchFamily="2" charset="0"/>
              </a:rPr>
              <a:t>Doelen</a:t>
            </a:r>
            <a:r>
              <a:rPr lang="en-US" sz="1200" kern="0" noProof="1">
                <a:solidFill>
                  <a:srgbClr val="236B47"/>
                </a:solidFill>
                <a:latin typeface="Montserrat" panose="00000500000000000000" pitchFamily="2" charset="0"/>
              </a:rPr>
              <a:t> stellen – (a) lange termijn, (b) strategisch en (c) tactisch - o.b.v. organisatieambitie en ESG volwassenheid (incl. 0-meting).</a:t>
            </a:r>
          </a:p>
          <a:p>
            <a:pPr marL="324006" indent="-324006" defTabSz="914343">
              <a:spcBef>
                <a:spcPts val="283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US" sz="1200" b="1" kern="0" noProof="1">
                <a:solidFill>
                  <a:srgbClr val="236B47"/>
                </a:solidFill>
                <a:latin typeface="Montserrat" panose="00000500000000000000" pitchFamily="2" charset="0"/>
              </a:rPr>
              <a:t>Tijdslijn</a:t>
            </a:r>
            <a:r>
              <a:rPr lang="en-US" sz="1200" kern="0" noProof="1">
                <a:solidFill>
                  <a:srgbClr val="236B47"/>
                </a:solidFill>
                <a:latin typeface="Montserrat" panose="00000500000000000000" pitchFamily="2" charset="0"/>
              </a:rPr>
              <a:t> (a) lange termijn - zoals net zero 2050, (b) 5 jaar voor strategisch &amp; (c) 1 jaar voor tactisch actieplan.</a:t>
            </a:r>
          </a:p>
          <a:p>
            <a:pPr marL="324006" indent="-324006" defTabSz="914343">
              <a:spcBef>
                <a:spcPts val="283"/>
              </a:spcBef>
              <a:spcAft>
                <a:spcPts val="200"/>
              </a:spcAft>
              <a:buFont typeface="+mj-lt"/>
              <a:buAutoNum type="arabicPeriod"/>
              <a:defRPr/>
            </a:pPr>
            <a:r>
              <a:rPr lang="en-US" sz="1200" b="1" kern="0" noProof="1">
                <a:solidFill>
                  <a:srgbClr val="236B47"/>
                </a:solidFill>
                <a:latin typeface="Montserrat" panose="00000500000000000000" pitchFamily="2" charset="0"/>
              </a:rPr>
              <a:t>Acties</a:t>
            </a:r>
            <a:r>
              <a:rPr lang="en-US" sz="1200" kern="0" noProof="1">
                <a:solidFill>
                  <a:srgbClr val="236B47"/>
                </a:solidFill>
                <a:latin typeface="Montserrat" panose="00000500000000000000" pitchFamily="2" charset="0"/>
              </a:rPr>
              <a:t> (bestaand) integreren en benodigde acties toevoegen om doelen te behalen.</a:t>
            </a:r>
          </a:p>
        </p:txBody>
      </p:sp>
      <p:sp>
        <p:nvSpPr>
          <p:cNvPr id="35" name="Rechthoek 34">
            <a:extLst>
              <a:ext uri="{FF2B5EF4-FFF2-40B4-BE49-F238E27FC236}">
                <a16:creationId xmlns:a16="http://schemas.microsoft.com/office/drawing/2014/main" id="{A86B3A10-3D1E-09ED-458B-39CF37E2D9C2}"/>
              </a:ext>
            </a:extLst>
          </p:cNvPr>
          <p:cNvSpPr/>
          <p:nvPr/>
        </p:nvSpPr>
        <p:spPr>
          <a:xfrm>
            <a:off x="4197932" y="2497618"/>
            <a:ext cx="721023" cy="824980"/>
          </a:xfrm>
          <a:prstGeom prst="rect">
            <a:avLst/>
          </a:prstGeom>
          <a:solidFill>
            <a:srgbClr val="236B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32008"/>
            <a:r>
              <a:rPr lang="en-GB" sz="760">
                <a:solidFill>
                  <a:srgbClr val="F4F6F8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KPI’S &amp; </a:t>
            </a:r>
          </a:p>
          <a:p>
            <a:pPr algn="ctr" defTabSz="432008"/>
            <a:r>
              <a:rPr lang="en-GB" sz="760">
                <a:solidFill>
                  <a:srgbClr val="F4F6F8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0-METING</a:t>
            </a:r>
          </a:p>
        </p:txBody>
      </p:sp>
      <p:sp>
        <p:nvSpPr>
          <p:cNvPr id="36" name="Rechthoek 35">
            <a:extLst>
              <a:ext uri="{FF2B5EF4-FFF2-40B4-BE49-F238E27FC236}">
                <a16:creationId xmlns:a16="http://schemas.microsoft.com/office/drawing/2014/main" id="{5F467319-2EA8-50D9-4DE8-38F9D8899B93}"/>
              </a:ext>
            </a:extLst>
          </p:cNvPr>
          <p:cNvSpPr/>
          <p:nvPr/>
        </p:nvSpPr>
        <p:spPr>
          <a:xfrm>
            <a:off x="4197931" y="3391586"/>
            <a:ext cx="721024" cy="824980"/>
          </a:xfrm>
          <a:prstGeom prst="rect">
            <a:avLst/>
          </a:prstGeom>
          <a:solidFill>
            <a:srgbClr val="236B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32008"/>
            <a:r>
              <a:rPr lang="en-GB" sz="760">
                <a:solidFill>
                  <a:srgbClr val="F4F6F8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KPI’S &amp; </a:t>
            </a:r>
          </a:p>
          <a:p>
            <a:pPr algn="ctr" defTabSz="432008"/>
            <a:r>
              <a:rPr lang="en-GB" sz="760">
                <a:solidFill>
                  <a:srgbClr val="F4F6F8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0-METING</a:t>
            </a:r>
          </a:p>
        </p:txBody>
      </p:sp>
      <p:sp>
        <p:nvSpPr>
          <p:cNvPr id="37" name="Rechthoek 36">
            <a:extLst>
              <a:ext uri="{FF2B5EF4-FFF2-40B4-BE49-F238E27FC236}">
                <a16:creationId xmlns:a16="http://schemas.microsoft.com/office/drawing/2014/main" id="{DC25D649-1E7B-B29D-3FC9-2DB32807116D}"/>
              </a:ext>
            </a:extLst>
          </p:cNvPr>
          <p:cNvSpPr/>
          <p:nvPr/>
        </p:nvSpPr>
        <p:spPr>
          <a:xfrm>
            <a:off x="4188002" y="4290557"/>
            <a:ext cx="721024" cy="824980"/>
          </a:xfrm>
          <a:prstGeom prst="rect">
            <a:avLst/>
          </a:prstGeom>
          <a:solidFill>
            <a:srgbClr val="236B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32008"/>
            <a:r>
              <a:rPr lang="en-GB" sz="760">
                <a:solidFill>
                  <a:srgbClr val="F4F6F8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KPI’S &amp; </a:t>
            </a:r>
          </a:p>
          <a:p>
            <a:pPr algn="ctr" defTabSz="432008"/>
            <a:r>
              <a:rPr lang="en-GB" sz="760">
                <a:solidFill>
                  <a:srgbClr val="F4F6F8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0-METING</a:t>
            </a:r>
          </a:p>
        </p:txBody>
      </p:sp>
      <p:pic>
        <p:nvPicPr>
          <p:cNvPr id="5122" name="Picture 2" descr="Blind spot - Free healthcare and medical icons">
            <a:extLst>
              <a:ext uri="{FF2B5EF4-FFF2-40B4-BE49-F238E27FC236}">
                <a16:creationId xmlns:a16="http://schemas.microsoft.com/office/drawing/2014/main" id="{CAA07CDB-3A7D-4AC1-03A0-E20C196EC1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0000" y="967998"/>
            <a:ext cx="425311" cy="425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Roadmap Icons - Free SVG &amp; PNG Roadmap Images - Noun Project">
            <a:extLst>
              <a:ext uri="{FF2B5EF4-FFF2-40B4-BE49-F238E27FC236}">
                <a16:creationId xmlns:a16="http://schemas.microsoft.com/office/drawing/2014/main" id="{4FF1ED23-96E0-C776-0786-9B31707B86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5561" y="318298"/>
            <a:ext cx="430917" cy="430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Ovaal 38">
            <a:extLst>
              <a:ext uri="{FF2B5EF4-FFF2-40B4-BE49-F238E27FC236}">
                <a16:creationId xmlns:a16="http://schemas.microsoft.com/office/drawing/2014/main" id="{5F071205-001B-E308-74F8-6557BB4781BD}"/>
              </a:ext>
            </a:extLst>
          </p:cNvPr>
          <p:cNvSpPr/>
          <p:nvPr/>
        </p:nvSpPr>
        <p:spPr>
          <a:xfrm>
            <a:off x="3841358" y="3661512"/>
            <a:ext cx="281094" cy="285128"/>
          </a:xfrm>
          <a:prstGeom prst="ellipse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</a:pPr>
            <a:r>
              <a:rPr lang="en-GB" sz="1134" b="1">
                <a:solidFill>
                  <a:srgbClr val="F4F6F8"/>
                </a:solidFill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1</a:t>
            </a:r>
            <a:endParaRPr lang="en-GB" sz="1039" b="1">
              <a:solidFill>
                <a:srgbClr val="F4F6F8"/>
              </a:solidFill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0" name="Vierkante haak links 39">
            <a:extLst>
              <a:ext uri="{FF2B5EF4-FFF2-40B4-BE49-F238E27FC236}">
                <a16:creationId xmlns:a16="http://schemas.microsoft.com/office/drawing/2014/main" id="{DB21C423-08E3-8782-6E0A-2056FA53A17D}"/>
              </a:ext>
            </a:extLst>
          </p:cNvPr>
          <p:cNvSpPr/>
          <p:nvPr/>
        </p:nvSpPr>
        <p:spPr>
          <a:xfrm rot="5400000">
            <a:off x="4484643" y="2027822"/>
            <a:ext cx="102409" cy="615622"/>
          </a:xfrm>
          <a:prstGeom prst="leftBracket">
            <a:avLst/>
          </a:prstGeom>
          <a:ln>
            <a:solidFill>
              <a:srgbClr val="236B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32008"/>
            <a:endParaRPr lang="en-GB" sz="1701">
              <a:solidFill>
                <a:srgbClr val="555C6B"/>
              </a:solidFill>
              <a:latin typeface="Calibri"/>
            </a:endParaRPr>
          </a:p>
        </p:txBody>
      </p:sp>
      <p:sp>
        <p:nvSpPr>
          <p:cNvPr id="41" name="Ovaal 40">
            <a:extLst>
              <a:ext uri="{FF2B5EF4-FFF2-40B4-BE49-F238E27FC236}">
                <a16:creationId xmlns:a16="http://schemas.microsoft.com/office/drawing/2014/main" id="{01D179BA-0EB2-5598-F3AF-7A6D4080A1A8}"/>
              </a:ext>
            </a:extLst>
          </p:cNvPr>
          <p:cNvSpPr/>
          <p:nvPr/>
        </p:nvSpPr>
        <p:spPr>
          <a:xfrm>
            <a:off x="4395300" y="2142704"/>
            <a:ext cx="281094" cy="285128"/>
          </a:xfrm>
          <a:prstGeom prst="ellipse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</a:pPr>
            <a:r>
              <a:rPr lang="en-GB" sz="1134" b="1">
                <a:solidFill>
                  <a:srgbClr val="F4F6F8"/>
                </a:solidFill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2</a:t>
            </a:r>
            <a:endParaRPr lang="en-GB" sz="1039" b="1">
              <a:solidFill>
                <a:srgbClr val="F4F6F8"/>
              </a:solidFill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2" name="Vierkante haak links 41">
            <a:extLst>
              <a:ext uri="{FF2B5EF4-FFF2-40B4-BE49-F238E27FC236}">
                <a16:creationId xmlns:a16="http://schemas.microsoft.com/office/drawing/2014/main" id="{FD3F0325-9210-5E23-BFF7-5D88E5BF094E}"/>
              </a:ext>
            </a:extLst>
          </p:cNvPr>
          <p:cNvSpPr/>
          <p:nvPr/>
        </p:nvSpPr>
        <p:spPr>
          <a:xfrm rot="5400000">
            <a:off x="10311030" y="1547090"/>
            <a:ext cx="86402" cy="1555242"/>
          </a:xfrm>
          <a:prstGeom prst="leftBracket">
            <a:avLst/>
          </a:prstGeom>
          <a:ln>
            <a:solidFill>
              <a:srgbClr val="236B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32008"/>
            <a:endParaRPr lang="en-GB" sz="1701">
              <a:solidFill>
                <a:srgbClr val="555C6B"/>
              </a:solidFill>
              <a:latin typeface="Calibri"/>
            </a:endParaRPr>
          </a:p>
        </p:txBody>
      </p:sp>
      <p:sp>
        <p:nvSpPr>
          <p:cNvPr id="43" name="Ovaal 42">
            <a:extLst>
              <a:ext uri="{FF2B5EF4-FFF2-40B4-BE49-F238E27FC236}">
                <a16:creationId xmlns:a16="http://schemas.microsoft.com/office/drawing/2014/main" id="{9E4645FC-9E10-EF16-3702-2865C6DD6CFA}"/>
              </a:ext>
            </a:extLst>
          </p:cNvPr>
          <p:cNvSpPr/>
          <p:nvPr/>
        </p:nvSpPr>
        <p:spPr>
          <a:xfrm>
            <a:off x="10210949" y="2154975"/>
            <a:ext cx="281094" cy="285128"/>
          </a:xfrm>
          <a:prstGeom prst="ellipse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</a:pPr>
            <a:r>
              <a:rPr lang="en-GB" sz="1134" b="1">
                <a:solidFill>
                  <a:srgbClr val="F4F6F8"/>
                </a:solidFill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3</a:t>
            </a:r>
            <a:endParaRPr lang="en-GB" sz="1039" b="1">
              <a:solidFill>
                <a:srgbClr val="F4F6F8"/>
              </a:solidFill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4" name="Ovaal 43">
            <a:extLst>
              <a:ext uri="{FF2B5EF4-FFF2-40B4-BE49-F238E27FC236}">
                <a16:creationId xmlns:a16="http://schemas.microsoft.com/office/drawing/2014/main" id="{612775E5-5C84-0B39-8181-90793A821CB9}"/>
              </a:ext>
            </a:extLst>
          </p:cNvPr>
          <p:cNvSpPr/>
          <p:nvPr/>
        </p:nvSpPr>
        <p:spPr>
          <a:xfrm>
            <a:off x="6820999" y="2143305"/>
            <a:ext cx="281094" cy="285128"/>
          </a:xfrm>
          <a:prstGeom prst="ellipse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</a:pPr>
            <a:r>
              <a:rPr lang="en-GB" sz="1039" b="1">
                <a:solidFill>
                  <a:srgbClr val="F4F6F8"/>
                </a:solidFill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5</a:t>
            </a:r>
          </a:p>
        </p:txBody>
      </p:sp>
      <p:sp>
        <p:nvSpPr>
          <p:cNvPr id="45" name="Vierkante haak links 44">
            <a:extLst>
              <a:ext uri="{FF2B5EF4-FFF2-40B4-BE49-F238E27FC236}">
                <a16:creationId xmlns:a16="http://schemas.microsoft.com/office/drawing/2014/main" id="{E3B6193F-EB5D-0C95-C51B-C19BF7E53AD6}"/>
              </a:ext>
            </a:extLst>
          </p:cNvPr>
          <p:cNvSpPr/>
          <p:nvPr/>
        </p:nvSpPr>
        <p:spPr>
          <a:xfrm rot="16200000" flipV="1">
            <a:off x="7160966" y="2957786"/>
            <a:ext cx="102409" cy="4579324"/>
          </a:xfrm>
          <a:prstGeom prst="leftBracket">
            <a:avLst/>
          </a:prstGeom>
          <a:ln>
            <a:solidFill>
              <a:srgbClr val="236B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32008"/>
            <a:endParaRPr lang="en-GB" sz="1701">
              <a:solidFill>
                <a:srgbClr val="555C6B"/>
              </a:solidFill>
              <a:latin typeface="Calibri"/>
            </a:endParaRPr>
          </a:p>
        </p:txBody>
      </p:sp>
      <p:sp>
        <p:nvSpPr>
          <p:cNvPr id="46" name="Ovaal 45">
            <a:extLst>
              <a:ext uri="{FF2B5EF4-FFF2-40B4-BE49-F238E27FC236}">
                <a16:creationId xmlns:a16="http://schemas.microsoft.com/office/drawing/2014/main" id="{EA17954E-0AF6-CDFA-5F34-2D4DA901830C}"/>
              </a:ext>
            </a:extLst>
          </p:cNvPr>
          <p:cNvSpPr/>
          <p:nvPr/>
        </p:nvSpPr>
        <p:spPr>
          <a:xfrm>
            <a:off x="6820999" y="5156089"/>
            <a:ext cx="281094" cy="285128"/>
          </a:xfrm>
          <a:prstGeom prst="ellipse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</a:pPr>
            <a:r>
              <a:rPr lang="en-GB" sz="1039" b="1">
                <a:solidFill>
                  <a:srgbClr val="F4F6F8"/>
                </a:solidFill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4</a:t>
            </a:r>
          </a:p>
        </p:txBody>
      </p:sp>
      <p:sp>
        <p:nvSpPr>
          <p:cNvPr id="4" name="Tijdelijke aanduiding voor dianummer 1">
            <a:extLst>
              <a:ext uri="{FF2B5EF4-FFF2-40B4-BE49-F238E27FC236}">
                <a16:creationId xmlns:a16="http://schemas.microsoft.com/office/drawing/2014/main" id="{8A55FAD1-2769-D457-513E-7DA92BCFE0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688" y="6119725"/>
            <a:ext cx="431800" cy="360362"/>
          </a:xfrm>
        </p:spPr>
        <p:txBody>
          <a:bodyPr/>
          <a:lstStyle/>
          <a:p>
            <a:pPr marL="0" marR="0" lvl="0" indent="0" algn="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82D01A-ED25-4F30-894A-E32B487BCBA5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F4F6F8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pPr marL="0" marR="0" lvl="0" indent="0" algn="r" defTabSz="86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F4F6F8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03FDCD7F-CD99-49BF-8FD4-4A44AE490ED4}"/>
              </a:ext>
            </a:extLst>
          </p:cNvPr>
          <p:cNvSpPr/>
          <p:nvPr/>
        </p:nvSpPr>
        <p:spPr>
          <a:xfrm>
            <a:off x="244" y="5804413"/>
            <a:ext cx="11520488" cy="67558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err="1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B9D3F3F-455C-6301-F363-7D81DFBD4F0B}"/>
              </a:ext>
            </a:extLst>
          </p:cNvPr>
          <p:cNvSpPr txBox="1">
            <a:spLocks/>
          </p:cNvSpPr>
          <p:nvPr/>
        </p:nvSpPr>
        <p:spPr>
          <a:xfrm>
            <a:off x="125479" y="5917710"/>
            <a:ext cx="10296239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BeYOND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4802EF39-9749-BD5A-6A64-8919AC4CB5D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6" name="Picture 2" descr="Nationale Coalitie Duurzame Digitalisering">
            <a:extLst>
              <a:ext uri="{FF2B5EF4-FFF2-40B4-BE49-F238E27FC236}">
                <a16:creationId xmlns:a16="http://schemas.microsoft.com/office/drawing/2014/main" id="{7CE4B387-3F11-AAC4-9880-5BE3B757B9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7992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1" name="Tekstvak 1060">
            <a:extLst>
              <a:ext uri="{FF2B5EF4-FFF2-40B4-BE49-F238E27FC236}">
                <a16:creationId xmlns:a16="http://schemas.microsoft.com/office/drawing/2014/main" id="{CD6374CD-E757-256D-76A6-8D20D7E6514E}"/>
              </a:ext>
            </a:extLst>
          </p:cNvPr>
          <p:cNvSpPr txBox="1"/>
          <p:nvPr/>
        </p:nvSpPr>
        <p:spPr>
          <a:xfrm>
            <a:off x="340600" y="2410664"/>
            <a:ext cx="5800635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70005" indent="-270005" defTabSz="864017">
              <a:buFont typeface="Arial" panose="020B0604020202020204" pitchFamily="34" charset="0"/>
              <a:buChar char="•"/>
              <a:defRPr/>
            </a:pPr>
            <a:r>
              <a:rPr lang="nl-NL" sz="1400" kern="0">
                <a:solidFill>
                  <a:srgbClr val="236B47"/>
                </a:solidFill>
                <a:latin typeface="Montserrat" panose="00000500000000000000" pitchFamily="2" charset="0"/>
              </a:rPr>
              <a:t>Breng in kaart welke </a:t>
            </a:r>
            <a:r>
              <a:rPr lang="nl-NL" sz="1400" b="1" kern="0">
                <a:solidFill>
                  <a:srgbClr val="236B47"/>
                </a:solidFill>
                <a:latin typeface="Montserrat" panose="00000500000000000000" pitchFamily="2" charset="0"/>
              </a:rPr>
              <a:t>stakeholders</a:t>
            </a:r>
            <a:r>
              <a:rPr lang="nl-NL" sz="1400" kern="0">
                <a:solidFill>
                  <a:srgbClr val="236B47"/>
                </a:solidFill>
                <a:latin typeface="Montserrat" panose="00000500000000000000" pitchFamily="2" charset="0"/>
              </a:rPr>
              <a:t> nodig zijn bij de realisatie van de acties. Zorg voor een effectieve stakeholder interactie m.b.v. een stakeholdermatrix (zie rechts).</a:t>
            </a:r>
          </a:p>
          <a:p>
            <a:pPr marL="270005" indent="-270005" defTabSz="864017">
              <a:buFont typeface="Arial" panose="020B0604020202020204" pitchFamily="34" charset="0"/>
              <a:buChar char="•"/>
              <a:defRPr/>
            </a:pPr>
            <a:r>
              <a:rPr lang="nl-NL" sz="1400" kern="0">
                <a:solidFill>
                  <a:srgbClr val="236B47"/>
                </a:solidFill>
                <a:latin typeface="Montserrat" panose="00000500000000000000" pitchFamily="2" charset="0"/>
              </a:rPr>
              <a:t>Koppel eigenaren aan KPI’s en acties en maak een heldere verdeling qua </a:t>
            </a:r>
            <a:r>
              <a:rPr lang="nl-NL" sz="1400" b="1" kern="0">
                <a:solidFill>
                  <a:srgbClr val="236B47"/>
                </a:solidFill>
                <a:latin typeface="Montserrat" panose="00000500000000000000" pitchFamily="2" charset="0"/>
              </a:rPr>
              <a:t>rollen en verantwoordelijkheden </a:t>
            </a:r>
            <a:r>
              <a:rPr lang="nl-NL" sz="1400" kern="0">
                <a:solidFill>
                  <a:srgbClr val="236B47"/>
                </a:solidFill>
                <a:latin typeface="Montserrat" panose="00000500000000000000" pitchFamily="2" charset="0"/>
              </a:rPr>
              <a:t>in de realisatie en besturing van het corporate actieplan.</a:t>
            </a:r>
          </a:p>
          <a:p>
            <a:pPr marL="270005" indent="-270005" defTabSz="864017">
              <a:buFont typeface="Arial" panose="020B0604020202020204" pitchFamily="34" charset="0"/>
              <a:buChar char="•"/>
              <a:defRPr/>
            </a:pPr>
            <a:r>
              <a:rPr lang="nl-NL" sz="1400" kern="0">
                <a:solidFill>
                  <a:srgbClr val="236B47"/>
                </a:solidFill>
                <a:latin typeface="Montserrat" panose="00000500000000000000" pitchFamily="2" charset="0"/>
              </a:rPr>
              <a:t>Integreer </a:t>
            </a:r>
            <a:r>
              <a:rPr lang="nl-NL" sz="1400" b="1" kern="0">
                <a:solidFill>
                  <a:srgbClr val="236B47"/>
                </a:solidFill>
                <a:latin typeface="Montserrat" panose="00000500000000000000" pitchFamily="2" charset="0"/>
              </a:rPr>
              <a:t>besturing</a:t>
            </a:r>
            <a:r>
              <a:rPr lang="nl-NL" sz="1400" kern="0">
                <a:solidFill>
                  <a:srgbClr val="236B47"/>
                </a:solidFill>
                <a:latin typeface="Montserrat" panose="00000500000000000000" pitchFamily="2" charset="0"/>
              </a:rPr>
              <a:t> corporate actieplan zoveel mogelijk in bestaande </a:t>
            </a:r>
            <a:r>
              <a:rPr lang="nl-NL" sz="1400" kern="0" err="1">
                <a:solidFill>
                  <a:srgbClr val="236B47"/>
                </a:solidFill>
                <a:latin typeface="Montserrat" panose="00000500000000000000" pitchFamily="2" charset="0"/>
              </a:rPr>
              <a:t>governance</a:t>
            </a:r>
            <a:r>
              <a:rPr lang="nl-NL" sz="1400" kern="0">
                <a:solidFill>
                  <a:srgbClr val="236B47"/>
                </a:solidFill>
                <a:latin typeface="Montserrat" panose="00000500000000000000" pitchFamily="2" charset="0"/>
              </a:rPr>
              <a:t> structuur en vul aan indien noodzakelijk.</a:t>
            </a:r>
          </a:p>
          <a:p>
            <a:pPr marL="270005" indent="-270005" defTabSz="864017">
              <a:buFont typeface="Arial" panose="020B0604020202020204" pitchFamily="34" charset="0"/>
              <a:buChar char="•"/>
              <a:defRPr/>
            </a:pPr>
            <a:r>
              <a:rPr lang="nl-NL" sz="1400" b="1" kern="0">
                <a:solidFill>
                  <a:srgbClr val="236B47"/>
                </a:solidFill>
                <a:latin typeface="Montserrat" panose="00000500000000000000" pitchFamily="2" charset="0"/>
              </a:rPr>
              <a:t>Communiceer</a:t>
            </a:r>
            <a:r>
              <a:rPr lang="nl-NL" sz="1400" kern="0">
                <a:solidFill>
                  <a:srgbClr val="236B47"/>
                </a:solidFill>
                <a:latin typeface="Montserrat" panose="00000500000000000000" pitchFamily="2" charset="0"/>
              </a:rPr>
              <a:t> actief naar interne en externe stakeholders over actieplan en voortgang.</a:t>
            </a: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533073BA-6013-1AF3-7218-93A97C22B9DF}"/>
              </a:ext>
            </a:extLst>
          </p:cNvPr>
          <p:cNvSpPr/>
          <p:nvPr/>
        </p:nvSpPr>
        <p:spPr>
          <a:xfrm>
            <a:off x="-16932" y="-8028"/>
            <a:ext cx="11537333" cy="1755501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9" tIns="35999" rIns="35999" bIns="359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  <a:defRPr/>
            </a:pPr>
            <a:endParaRPr lang="en-GB" sz="90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TextBox 80">
            <a:extLst>
              <a:ext uri="{FF2B5EF4-FFF2-40B4-BE49-F238E27FC236}">
                <a16:creationId xmlns:a16="http://schemas.microsoft.com/office/drawing/2014/main" id="{239E9D8B-A894-3193-C0BB-0380B06F51D5}"/>
              </a:ext>
            </a:extLst>
          </p:cNvPr>
          <p:cNvSpPr txBox="1"/>
          <p:nvPr/>
        </p:nvSpPr>
        <p:spPr>
          <a:xfrm>
            <a:off x="250907" y="392302"/>
            <a:ext cx="7487273" cy="1104148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 defTabSz="914343">
              <a:defRPr/>
            </a:pPr>
            <a:r>
              <a:rPr lang="en-US" sz="16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ESG actieplan &amp; continu verbeteren</a:t>
            </a:r>
            <a:br>
              <a:rPr lang="en-US" sz="1800" b="1" kern="0" noProof="1">
                <a:solidFill>
                  <a:srgbClr val="F3FBF7"/>
                </a:solidFill>
                <a:latin typeface="Montserrat" panose="00000500000000000000" pitchFamily="2" charset="0"/>
              </a:rPr>
            </a:br>
            <a:r>
              <a:rPr lang="en-US" sz="3402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4. BETREK</a:t>
            </a:r>
          </a:p>
          <a:p>
            <a:pPr defTabSz="914343">
              <a:spcBef>
                <a:spcPts val="283"/>
              </a:spcBef>
              <a:spcAft>
                <a:spcPts val="200"/>
              </a:spcAft>
              <a:defRPr/>
            </a:pPr>
            <a:r>
              <a:rPr lang="nl-NL" sz="1323" kern="0" noProof="1">
                <a:solidFill>
                  <a:srgbClr val="F3FBF7"/>
                </a:solidFill>
                <a:latin typeface="Montserrat" panose="00000500000000000000" pitchFamily="2" charset="0"/>
              </a:rPr>
              <a:t>relevante stakeholders welke key zijn in de realisatie van het actieplan.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778474A9-DF95-EAEB-D8A1-82C90734DE31}"/>
              </a:ext>
            </a:extLst>
          </p:cNvPr>
          <p:cNvSpPr txBox="1"/>
          <p:nvPr/>
        </p:nvSpPr>
        <p:spPr>
          <a:xfrm>
            <a:off x="8663663" y="391537"/>
            <a:ext cx="2640549" cy="8919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64017">
              <a:buClr>
                <a:srgbClr val="236B47"/>
              </a:buClr>
            </a:pPr>
            <a:r>
              <a:rPr lang="nl-NL" sz="1039" kern="0" noProof="1">
                <a:solidFill>
                  <a:srgbClr val="F3FBF7"/>
                </a:solidFill>
                <a:latin typeface="Montserrat" panose="00000500000000000000" pitchFamily="2" charset="0"/>
              </a:rPr>
              <a:t>Stakeholdermatrix met inzicht stakeholderveld</a:t>
            </a:r>
          </a:p>
          <a:p>
            <a:pPr defTabSz="864017">
              <a:buClr>
                <a:srgbClr val="236B47"/>
              </a:buClr>
            </a:pPr>
            <a:endParaRPr lang="nl-NL" sz="1039" kern="0" noProof="1">
              <a:solidFill>
                <a:srgbClr val="F3FBF7"/>
              </a:solidFill>
              <a:latin typeface="Montserrat" panose="00000500000000000000" pitchFamily="2" charset="0"/>
            </a:endParaRPr>
          </a:p>
          <a:p>
            <a:pPr defTabSz="864017">
              <a:buClr>
                <a:srgbClr val="236B47"/>
              </a:buClr>
            </a:pPr>
            <a:endParaRPr lang="nl-NL" sz="1039" kern="0" noProof="1">
              <a:solidFill>
                <a:srgbClr val="F3FBF7"/>
              </a:solidFill>
              <a:latin typeface="Montserrat" panose="00000500000000000000" pitchFamily="2" charset="0"/>
            </a:endParaRPr>
          </a:p>
          <a:p>
            <a:pPr defTabSz="864017">
              <a:buClr>
                <a:srgbClr val="236B47"/>
              </a:buClr>
            </a:pPr>
            <a:r>
              <a:rPr lang="nl-NL" sz="1039" kern="0" noProof="1">
                <a:solidFill>
                  <a:srgbClr val="F3FBF7"/>
                </a:solidFill>
                <a:latin typeface="Montserrat" panose="00000500000000000000" pitchFamily="2" charset="0"/>
              </a:rPr>
              <a:t>Heldere en effectieve governance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A5E01FB5-385C-8D1D-B02E-79B16A15C0AD}"/>
              </a:ext>
            </a:extLst>
          </p:cNvPr>
          <p:cNvSpPr/>
          <p:nvPr/>
        </p:nvSpPr>
        <p:spPr>
          <a:xfrm>
            <a:off x="7843824" y="156495"/>
            <a:ext cx="3460678" cy="1426454"/>
          </a:xfrm>
          <a:prstGeom prst="rect">
            <a:avLst/>
          </a:prstGeom>
          <a:noFill/>
          <a:ln w="38100" cap="rnd">
            <a:solidFill>
              <a:srgbClr val="3FBE80"/>
            </a:solidFill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</a:pPr>
            <a:endParaRPr lang="en-GB" sz="85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4098" name="Picture 2" descr="Stakeholder Mapping Icons - Free SVG &amp; PNG Stakeholder ...">
            <a:extLst>
              <a:ext uri="{FF2B5EF4-FFF2-40B4-BE49-F238E27FC236}">
                <a16:creationId xmlns:a16="http://schemas.microsoft.com/office/drawing/2014/main" id="{19312254-C4D1-3F01-D694-F94E8D378B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6740" y="381324"/>
            <a:ext cx="474008" cy="474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hthoek 9">
            <a:extLst>
              <a:ext uri="{FF2B5EF4-FFF2-40B4-BE49-F238E27FC236}">
                <a16:creationId xmlns:a16="http://schemas.microsoft.com/office/drawing/2014/main" id="{1D51DF8A-A781-FB3F-5BA2-73FB600D997D}"/>
              </a:ext>
            </a:extLst>
          </p:cNvPr>
          <p:cNvSpPr/>
          <p:nvPr/>
        </p:nvSpPr>
        <p:spPr>
          <a:xfrm>
            <a:off x="7506247" y="2209141"/>
            <a:ext cx="3024082" cy="3024082"/>
          </a:xfrm>
          <a:prstGeom prst="rect">
            <a:avLst/>
          </a:prstGeom>
          <a:solidFill>
            <a:srgbClr val="236B47">
              <a:alpha val="20000"/>
            </a:srgbClr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9" tIns="35999" rIns="35999" bIns="359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</a:pPr>
            <a:endParaRPr lang="en-GB" sz="90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2" name="Rechte verbindingslijn met pijl 11">
            <a:extLst>
              <a:ext uri="{FF2B5EF4-FFF2-40B4-BE49-F238E27FC236}">
                <a16:creationId xmlns:a16="http://schemas.microsoft.com/office/drawing/2014/main" id="{DB355440-BD0E-285A-1679-CE23A8F189FC}"/>
              </a:ext>
            </a:extLst>
          </p:cNvPr>
          <p:cNvCxnSpPr/>
          <p:nvPr/>
        </p:nvCxnSpPr>
        <p:spPr>
          <a:xfrm>
            <a:off x="7419854" y="2201102"/>
            <a:ext cx="0" cy="3022764"/>
          </a:xfrm>
          <a:prstGeom prst="straightConnector1">
            <a:avLst/>
          </a:prstGeom>
          <a:ln w="38100">
            <a:solidFill>
              <a:srgbClr val="236B47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kstvak 14">
            <a:extLst>
              <a:ext uri="{FF2B5EF4-FFF2-40B4-BE49-F238E27FC236}">
                <a16:creationId xmlns:a16="http://schemas.microsoft.com/office/drawing/2014/main" id="{0AD60798-1BEF-02BF-03A9-1C7C40CED01A}"/>
              </a:ext>
            </a:extLst>
          </p:cNvPr>
          <p:cNvSpPr txBox="1"/>
          <p:nvPr/>
        </p:nvSpPr>
        <p:spPr>
          <a:xfrm rot="16200000">
            <a:off x="6448378" y="3665655"/>
            <a:ext cx="157162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64017"/>
            <a:r>
              <a:rPr lang="nl-NL" sz="1050" b="1" kern="0">
                <a:solidFill>
                  <a:srgbClr val="236B47"/>
                </a:solidFill>
                <a:latin typeface="Montserrat" panose="00000500000000000000" pitchFamily="2" charset="0"/>
              </a:rPr>
              <a:t>INVLOED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2885E6F5-D853-D079-CBF9-E4C8400BE5E9}"/>
              </a:ext>
            </a:extLst>
          </p:cNvPr>
          <p:cNvSpPr txBox="1"/>
          <p:nvPr/>
        </p:nvSpPr>
        <p:spPr>
          <a:xfrm rot="16200000">
            <a:off x="7082016" y="4945718"/>
            <a:ext cx="41779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64017"/>
            <a:r>
              <a:rPr lang="nl-NL" sz="900">
                <a:solidFill>
                  <a:srgbClr val="236B47"/>
                </a:solidFill>
                <a:latin typeface="Calibri"/>
              </a:rPr>
              <a:t>Laag</a:t>
            </a:r>
          </a:p>
        </p:txBody>
      </p:sp>
      <p:sp>
        <p:nvSpPr>
          <p:cNvPr id="18" name="Tekstvak 17">
            <a:extLst>
              <a:ext uri="{FF2B5EF4-FFF2-40B4-BE49-F238E27FC236}">
                <a16:creationId xmlns:a16="http://schemas.microsoft.com/office/drawing/2014/main" id="{5240F00D-79F0-0185-26BC-2CFD39DBB658}"/>
              </a:ext>
            </a:extLst>
          </p:cNvPr>
          <p:cNvSpPr txBox="1"/>
          <p:nvPr/>
        </p:nvSpPr>
        <p:spPr>
          <a:xfrm rot="16200000">
            <a:off x="7050161" y="2384857"/>
            <a:ext cx="50553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64017"/>
            <a:r>
              <a:rPr lang="nl-NL" sz="900">
                <a:solidFill>
                  <a:srgbClr val="236B47"/>
                </a:solidFill>
                <a:latin typeface="Calibri"/>
              </a:rPr>
              <a:t>Hoog</a:t>
            </a:r>
          </a:p>
        </p:txBody>
      </p:sp>
      <p:sp>
        <p:nvSpPr>
          <p:cNvPr id="20" name="Tekstvak 19">
            <a:extLst>
              <a:ext uri="{FF2B5EF4-FFF2-40B4-BE49-F238E27FC236}">
                <a16:creationId xmlns:a16="http://schemas.microsoft.com/office/drawing/2014/main" id="{32FDAE68-0658-51DB-FFC7-03CFF7F2EE86}"/>
              </a:ext>
            </a:extLst>
          </p:cNvPr>
          <p:cNvSpPr txBox="1"/>
          <p:nvPr/>
        </p:nvSpPr>
        <p:spPr>
          <a:xfrm>
            <a:off x="7729511" y="2794941"/>
            <a:ext cx="1056620" cy="2617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64017"/>
            <a:r>
              <a:rPr lang="en-GB" sz="945" b="1">
                <a:solidFill>
                  <a:srgbClr val="236B47"/>
                </a:solidFill>
                <a:latin typeface="Montserrat" panose="00000500000000000000" pitchFamily="2" charset="0"/>
              </a:rPr>
              <a:t>BEÏNVLOEDER</a:t>
            </a:r>
          </a:p>
          <a:p>
            <a:pPr algn="ctr" defTabSz="864017"/>
            <a:r>
              <a:rPr lang="en-GB" sz="756">
                <a:solidFill>
                  <a:srgbClr val="236B47"/>
                </a:solidFill>
                <a:latin typeface="Montserrat" panose="00000500000000000000" pitchFamily="2" charset="0"/>
              </a:rPr>
              <a:t>TEVREDEN HOUDEN</a:t>
            </a:r>
          </a:p>
        </p:txBody>
      </p:sp>
      <p:cxnSp>
        <p:nvCxnSpPr>
          <p:cNvPr id="36" name="Rechte verbindingslijn 35">
            <a:extLst>
              <a:ext uri="{FF2B5EF4-FFF2-40B4-BE49-F238E27FC236}">
                <a16:creationId xmlns:a16="http://schemas.microsoft.com/office/drawing/2014/main" id="{F4D34046-2D59-6D02-A64B-E48EA8B53017}"/>
              </a:ext>
            </a:extLst>
          </p:cNvPr>
          <p:cNvCxnSpPr>
            <a:cxnSpLocks/>
            <a:stCxn id="10" idx="0"/>
            <a:endCxn id="10" idx="2"/>
          </p:cNvCxnSpPr>
          <p:nvPr/>
        </p:nvCxnSpPr>
        <p:spPr>
          <a:xfrm>
            <a:off x="9018288" y="2209141"/>
            <a:ext cx="0" cy="3024082"/>
          </a:xfrm>
          <a:prstGeom prst="line">
            <a:avLst/>
          </a:prstGeom>
          <a:ln w="15875" cap="rnd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Rechte verbindingslijn 37">
            <a:extLst>
              <a:ext uri="{FF2B5EF4-FFF2-40B4-BE49-F238E27FC236}">
                <a16:creationId xmlns:a16="http://schemas.microsoft.com/office/drawing/2014/main" id="{5F8145F3-D59A-C743-6733-991063218D5A}"/>
              </a:ext>
            </a:extLst>
          </p:cNvPr>
          <p:cNvCxnSpPr>
            <a:cxnSpLocks/>
            <a:stCxn id="10" idx="3"/>
            <a:endCxn id="10" idx="1"/>
          </p:cNvCxnSpPr>
          <p:nvPr/>
        </p:nvCxnSpPr>
        <p:spPr>
          <a:xfrm flipH="1">
            <a:off x="7506247" y="3721182"/>
            <a:ext cx="3024082" cy="0"/>
          </a:xfrm>
          <a:prstGeom prst="line">
            <a:avLst/>
          </a:prstGeom>
          <a:ln w="15875" cap="rnd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kstvak 40">
            <a:extLst>
              <a:ext uri="{FF2B5EF4-FFF2-40B4-BE49-F238E27FC236}">
                <a16:creationId xmlns:a16="http://schemas.microsoft.com/office/drawing/2014/main" id="{24802BCE-5672-0916-F6C8-A9A43191C7A7}"/>
              </a:ext>
            </a:extLst>
          </p:cNvPr>
          <p:cNvSpPr txBox="1"/>
          <p:nvPr/>
        </p:nvSpPr>
        <p:spPr>
          <a:xfrm>
            <a:off x="9228091" y="2792432"/>
            <a:ext cx="1091809" cy="2617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64017"/>
            <a:r>
              <a:rPr lang="en-GB" sz="945" b="1">
                <a:solidFill>
                  <a:srgbClr val="236B47"/>
                </a:solidFill>
                <a:latin typeface="Montserrat" panose="00000500000000000000" pitchFamily="2" charset="0"/>
              </a:rPr>
              <a:t>SLEUTELFIGUUR</a:t>
            </a:r>
          </a:p>
          <a:p>
            <a:pPr algn="ctr" defTabSz="864017"/>
            <a:r>
              <a:rPr lang="en-GB" sz="756">
                <a:solidFill>
                  <a:srgbClr val="236B47"/>
                </a:solidFill>
                <a:latin typeface="Montserrat" panose="00000500000000000000" pitchFamily="2" charset="0"/>
              </a:rPr>
              <a:t>SAMENWERKEN</a:t>
            </a:r>
          </a:p>
        </p:txBody>
      </p:sp>
      <p:sp>
        <p:nvSpPr>
          <p:cNvPr id="42" name="Tekstvak 41">
            <a:extLst>
              <a:ext uri="{FF2B5EF4-FFF2-40B4-BE49-F238E27FC236}">
                <a16:creationId xmlns:a16="http://schemas.microsoft.com/office/drawing/2014/main" id="{D9BE3C11-B06C-611B-E2AC-6CF7EFD7AEF7}"/>
              </a:ext>
            </a:extLst>
          </p:cNvPr>
          <p:cNvSpPr txBox="1"/>
          <p:nvPr/>
        </p:nvSpPr>
        <p:spPr>
          <a:xfrm>
            <a:off x="7681521" y="4314473"/>
            <a:ext cx="1161494" cy="2617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64017"/>
            <a:r>
              <a:rPr lang="en-GB" sz="945" b="1">
                <a:solidFill>
                  <a:srgbClr val="236B47"/>
                </a:solidFill>
                <a:latin typeface="Montserrat" panose="00000500000000000000" pitchFamily="2" charset="0"/>
              </a:rPr>
              <a:t>TOESCHOUWER</a:t>
            </a:r>
          </a:p>
          <a:p>
            <a:pPr algn="ctr" defTabSz="864017"/>
            <a:r>
              <a:rPr lang="en-GB" sz="756">
                <a:solidFill>
                  <a:srgbClr val="236B47"/>
                </a:solidFill>
                <a:latin typeface="Montserrat" panose="00000500000000000000" pitchFamily="2" charset="0"/>
              </a:rPr>
              <a:t>WEINIG AANDACHT</a:t>
            </a:r>
          </a:p>
        </p:txBody>
      </p:sp>
      <p:sp>
        <p:nvSpPr>
          <p:cNvPr id="43" name="Tekstvak 42">
            <a:extLst>
              <a:ext uri="{FF2B5EF4-FFF2-40B4-BE49-F238E27FC236}">
                <a16:creationId xmlns:a16="http://schemas.microsoft.com/office/drawing/2014/main" id="{BBBE4F0B-A75B-5965-0320-7DB93571A6A6}"/>
              </a:ext>
            </a:extLst>
          </p:cNvPr>
          <p:cNvSpPr txBox="1"/>
          <p:nvPr/>
        </p:nvSpPr>
        <p:spPr>
          <a:xfrm>
            <a:off x="9146453" y="4319876"/>
            <a:ext cx="1255711" cy="2617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64017"/>
            <a:r>
              <a:rPr lang="en-GB" sz="945" b="1">
                <a:solidFill>
                  <a:srgbClr val="236B47"/>
                </a:solidFill>
                <a:latin typeface="Montserrat" panose="00000500000000000000" pitchFamily="2" charset="0"/>
              </a:rPr>
              <a:t>GEÏNTERESSEERDE</a:t>
            </a:r>
          </a:p>
          <a:p>
            <a:pPr algn="ctr" defTabSz="864017"/>
            <a:r>
              <a:rPr lang="en-GB" sz="756">
                <a:solidFill>
                  <a:srgbClr val="236B47"/>
                </a:solidFill>
                <a:latin typeface="Montserrat" panose="00000500000000000000" pitchFamily="2" charset="0"/>
              </a:rPr>
              <a:t>INFORMEREN</a:t>
            </a:r>
          </a:p>
        </p:txBody>
      </p:sp>
      <p:pic>
        <p:nvPicPr>
          <p:cNvPr id="1026" name="Picture 2" descr="governance Icon - Free PNG &amp; SVG 3767738 - Noun Project">
            <a:extLst>
              <a:ext uri="{FF2B5EF4-FFF2-40B4-BE49-F238E27FC236}">
                <a16:creationId xmlns:a16="http://schemas.microsoft.com/office/drawing/2014/main" id="{076F041E-CAEF-E7FA-9386-929A665DBB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5133" y="955198"/>
            <a:ext cx="342631" cy="342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jdelijke aanduiding voor dianummer 1">
            <a:extLst>
              <a:ext uri="{FF2B5EF4-FFF2-40B4-BE49-F238E27FC236}">
                <a16:creationId xmlns:a16="http://schemas.microsoft.com/office/drawing/2014/main" id="{636F64B2-AFCD-A80A-270A-044951ABBC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688" y="6119725"/>
            <a:ext cx="431800" cy="360362"/>
          </a:xfrm>
        </p:spPr>
        <p:txBody>
          <a:bodyPr/>
          <a:lstStyle/>
          <a:p>
            <a:pPr marL="0" marR="0" lvl="0" indent="0" algn="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82D01A-ED25-4F30-894A-E32B487BCBA5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F4F6F8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pPr marL="0" marR="0" lvl="0" indent="0" algn="r" defTabSz="86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F4F6F8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F1DCF4AA-245C-FF6F-DB01-3330ED632E61}"/>
              </a:ext>
            </a:extLst>
          </p:cNvPr>
          <p:cNvSpPr/>
          <p:nvPr/>
        </p:nvSpPr>
        <p:spPr>
          <a:xfrm>
            <a:off x="244" y="5804413"/>
            <a:ext cx="11520488" cy="67558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err="1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C7DD304E-E06A-787A-1715-4410DE3B027D}"/>
              </a:ext>
            </a:extLst>
          </p:cNvPr>
          <p:cNvSpPr txBox="1">
            <a:spLocks/>
          </p:cNvSpPr>
          <p:nvPr/>
        </p:nvSpPr>
        <p:spPr>
          <a:xfrm>
            <a:off x="125479" y="5917710"/>
            <a:ext cx="10296239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BeYOND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27" name="Rechte verbindingslijn met pijl 26">
            <a:extLst>
              <a:ext uri="{FF2B5EF4-FFF2-40B4-BE49-F238E27FC236}">
                <a16:creationId xmlns:a16="http://schemas.microsoft.com/office/drawing/2014/main" id="{28C8720B-2EC2-FDD2-6C2C-DD361F410A4B}"/>
              </a:ext>
            </a:extLst>
          </p:cNvPr>
          <p:cNvCxnSpPr>
            <a:cxnSpLocks/>
          </p:cNvCxnSpPr>
          <p:nvPr/>
        </p:nvCxnSpPr>
        <p:spPr>
          <a:xfrm flipH="1">
            <a:off x="7506247" y="5320624"/>
            <a:ext cx="3022764" cy="0"/>
          </a:xfrm>
          <a:prstGeom prst="straightConnector1">
            <a:avLst/>
          </a:prstGeom>
          <a:ln w="38100">
            <a:solidFill>
              <a:srgbClr val="236B47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kstvak 27">
            <a:extLst>
              <a:ext uri="{FF2B5EF4-FFF2-40B4-BE49-F238E27FC236}">
                <a16:creationId xmlns:a16="http://schemas.microsoft.com/office/drawing/2014/main" id="{84F479CB-2EB2-A6C3-838F-C9F1E5CAAD1C}"/>
              </a:ext>
            </a:extLst>
          </p:cNvPr>
          <p:cNvSpPr txBox="1"/>
          <p:nvPr/>
        </p:nvSpPr>
        <p:spPr>
          <a:xfrm>
            <a:off x="7880054" y="5368459"/>
            <a:ext cx="226842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64017"/>
            <a:r>
              <a:rPr lang="nl-NL" sz="1050" b="1" kern="0">
                <a:solidFill>
                  <a:srgbClr val="236B47"/>
                </a:solidFill>
                <a:latin typeface="Montserrat" panose="00000500000000000000" pitchFamily="2" charset="0"/>
              </a:rPr>
              <a:t>BELANG</a:t>
            </a:r>
          </a:p>
        </p:txBody>
      </p:sp>
      <p:sp>
        <p:nvSpPr>
          <p:cNvPr id="29" name="Tekstvak 28">
            <a:extLst>
              <a:ext uri="{FF2B5EF4-FFF2-40B4-BE49-F238E27FC236}">
                <a16:creationId xmlns:a16="http://schemas.microsoft.com/office/drawing/2014/main" id="{C9DA79AA-DB37-A86E-430D-B7F6F39FE647}"/>
              </a:ext>
            </a:extLst>
          </p:cNvPr>
          <p:cNvSpPr txBox="1"/>
          <p:nvPr/>
        </p:nvSpPr>
        <p:spPr>
          <a:xfrm>
            <a:off x="7504360" y="5346762"/>
            <a:ext cx="61169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64017"/>
            <a:r>
              <a:rPr lang="nl-NL" sz="900">
                <a:solidFill>
                  <a:srgbClr val="236B47"/>
                </a:solidFill>
                <a:latin typeface="Calibri"/>
              </a:rPr>
              <a:t>Laag</a:t>
            </a:r>
          </a:p>
        </p:txBody>
      </p:sp>
      <p:sp>
        <p:nvSpPr>
          <p:cNvPr id="30" name="Tekstvak 29">
            <a:extLst>
              <a:ext uri="{FF2B5EF4-FFF2-40B4-BE49-F238E27FC236}">
                <a16:creationId xmlns:a16="http://schemas.microsoft.com/office/drawing/2014/main" id="{9908DF5A-B146-D958-2845-CE479B867DF1}"/>
              </a:ext>
            </a:extLst>
          </p:cNvPr>
          <p:cNvSpPr txBox="1"/>
          <p:nvPr/>
        </p:nvSpPr>
        <p:spPr>
          <a:xfrm>
            <a:off x="9968157" y="5346762"/>
            <a:ext cx="61169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64017"/>
            <a:r>
              <a:rPr lang="nl-NL" sz="900">
                <a:solidFill>
                  <a:srgbClr val="236B47"/>
                </a:solidFill>
                <a:latin typeface="Calibri"/>
              </a:rPr>
              <a:t>Hoog</a:t>
            </a: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39CCF3DE-F2BD-FC91-81CC-0BD405C15E1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6" name="Picture 2" descr="Nationale Coalitie Duurzame Digitalisering">
            <a:extLst>
              <a:ext uri="{FF2B5EF4-FFF2-40B4-BE49-F238E27FC236}">
                <a16:creationId xmlns:a16="http://schemas.microsoft.com/office/drawing/2014/main" id="{EF212288-F4EC-C979-E243-3273536B2D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2107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33073BA-6013-1AF3-7218-93A97C22B9DF}"/>
              </a:ext>
            </a:extLst>
          </p:cNvPr>
          <p:cNvSpPr/>
          <p:nvPr/>
        </p:nvSpPr>
        <p:spPr>
          <a:xfrm>
            <a:off x="-16932" y="-8028"/>
            <a:ext cx="11537333" cy="1755501"/>
          </a:xfrm>
          <a:prstGeom prst="rect">
            <a:avLst/>
          </a:prstGeom>
          <a:solidFill>
            <a:srgbClr val="236B47"/>
          </a:solidFill>
          <a:ln w="15875" cap="rnd">
            <a:solidFill>
              <a:schemeClr val="bg1"/>
            </a:solidFill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9" tIns="35999" rIns="35999" bIns="359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  <a:defRPr/>
            </a:pPr>
            <a:endParaRPr lang="en-GB" sz="900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CFADEDBE-FB19-44D6-B279-5F1A80733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607" y="6119681"/>
            <a:ext cx="431793" cy="360357"/>
          </a:xfrm>
        </p:spPr>
        <p:txBody>
          <a:bodyPr/>
          <a:lstStyle/>
          <a:p>
            <a:pPr defTabSz="864017">
              <a:defRPr/>
            </a:pPr>
            <a:fld id="{2882D01A-ED25-4F30-894A-E32B487BCBA5}" type="slidenum">
              <a:rPr lang="nl-NL">
                <a:solidFill>
                  <a:srgbClr val="F4F6F8">
                    <a:lumMod val="75000"/>
                  </a:srgbClr>
                </a:solidFill>
              </a:rPr>
              <a:pPr defTabSz="864017">
                <a:defRPr/>
              </a:pPr>
              <a:t>47</a:t>
            </a:fld>
            <a:endParaRPr lang="nl-NL">
              <a:solidFill>
                <a:srgbClr val="F4F6F8">
                  <a:lumMod val="75000"/>
                </a:srgbClr>
              </a:solidFill>
            </a:endParaRPr>
          </a:p>
        </p:txBody>
      </p:sp>
      <p:sp>
        <p:nvSpPr>
          <p:cNvPr id="1024" name="Rechthoek 1023">
            <a:extLst>
              <a:ext uri="{FF2B5EF4-FFF2-40B4-BE49-F238E27FC236}">
                <a16:creationId xmlns:a16="http://schemas.microsoft.com/office/drawing/2014/main" id="{186EACDD-C985-7BAC-6693-95CED9C73D9B}"/>
              </a:ext>
            </a:extLst>
          </p:cNvPr>
          <p:cNvSpPr/>
          <p:nvPr/>
        </p:nvSpPr>
        <p:spPr>
          <a:xfrm>
            <a:off x="333" y="5804374"/>
            <a:ext cx="11520312" cy="67557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9" tIns="35999" rIns="35999" bIns="359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  <a:defRPr/>
            </a:pPr>
            <a:endParaRPr lang="en-GB" sz="90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039" name="Afbeelding 1038">
            <a:extLst>
              <a:ext uri="{FF2B5EF4-FFF2-40B4-BE49-F238E27FC236}">
                <a16:creationId xmlns:a16="http://schemas.microsoft.com/office/drawing/2014/main" id="{FB96DB18-8053-2A17-3FA0-AF483360AD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67547" y="5959988"/>
            <a:ext cx="1132647" cy="348289"/>
          </a:xfrm>
          <a:prstGeom prst="rect">
            <a:avLst/>
          </a:prstGeom>
        </p:spPr>
      </p:pic>
      <p:pic>
        <p:nvPicPr>
          <p:cNvPr id="1040" name="Afbeelding 1039">
            <a:extLst>
              <a:ext uri="{FF2B5EF4-FFF2-40B4-BE49-F238E27FC236}">
                <a16:creationId xmlns:a16="http://schemas.microsoft.com/office/drawing/2014/main" id="{7E112CEB-EE65-0239-35F0-8914914B957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6246" y="5992793"/>
            <a:ext cx="1125091" cy="284003"/>
          </a:xfrm>
          <a:prstGeom prst="rect">
            <a:avLst/>
          </a:prstGeom>
        </p:spPr>
      </p:pic>
      <p:sp>
        <p:nvSpPr>
          <p:cNvPr id="1061" name="Tekstvak 1060">
            <a:extLst>
              <a:ext uri="{FF2B5EF4-FFF2-40B4-BE49-F238E27FC236}">
                <a16:creationId xmlns:a16="http://schemas.microsoft.com/office/drawing/2014/main" id="{CD6374CD-E757-256D-76A6-8D20D7E6514E}"/>
              </a:ext>
            </a:extLst>
          </p:cNvPr>
          <p:cNvSpPr txBox="1"/>
          <p:nvPr/>
        </p:nvSpPr>
        <p:spPr>
          <a:xfrm>
            <a:off x="2881357" y="3038865"/>
            <a:ext cx="58006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64017">
              <a:defRPr/>
            </a:pPr>
            <a:r>
              <a:rPr lang="en-US" sz="1800" b="1" kern="0" noProof="1">
                <a:solidFill>
                  <a:srgbClr val="00BCE2"/>
                </a:solidFill>
                <a:latin typeface="Montserrat" panose="00000500000000000000" pitchFamily="2" charset="0"/>
              </a:rPr>
              <a:t> </a:t>
            </a:r>
            <a:endParaRPr lang="en-GB" sz="1800">
              <a:solidFill>
                <a:srgbClr val="555C6B"/>
              </a:solidFill>
              <a:latin typeface="Calibri"/>
            </a:endParaRPr>
          </a:p>
        </p:txBody>
      </p:sp>
      <p:sp>
        <p:nvSpPr>
          <p:cNvPr id="1066" name="Title 1">
            <a:extLst>
              <a:ext uri="{FF2B5EF4-FFF2-40B4-BE49-F238E27FC236}">
                <a16:creationId xmlns:a16="http://schemas.microsoft.com/office/drawing/2014/main" id="{CF4966A2-16E5-A36B-5145-CAB8FD37628E}"/>
              </a:ext>
            </a:extLst>
          </p:cNvPr>
          <p:cNvSpPr txBox="1">
            <a:spLocks/>
          </p:cNvSpPr>
          <p:nvPr/>
        </p:nvSpPr>
        <p:spPr>
          <a:xfrm>
            <a:off x="125565" y="5917669"/>
            <a:ext cx="10296082" cy="461663"/>
          </a:xfrm>
          <a:prstGeom prst="rect">
            <a:avLst/>
          </a:prstGeom>
        </p:spPr>
        <p:txBody>
          <a:bodyPr vert="horz" wrap="square" lIns="91439" tIns="45719" rIns="91439" bIns="45719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defTabSz="863973">
              <a:defRPr/>
            </a:pPr>
            <a:r>
              <a:rPr lang="nl-NL" sz="2400">
                <a:solidFill>
                  <a:srgbClr val="FFFFFF"/>
                </a:solidFill>
                <a:latin typeface="Montserrat" panose="00000500000000000000" pitchFamily="2" charset="0"/>
              </a:rPr>
              <a:t>CSRD </a:t>
            </a:r>
            <a:r>
              <a:rPr lang="nl-NL" sz="2400" err="1">
                <a:solidFill>
                  <a:srgbClr val="FFFFFF"/>
                </a:solidFill>
                <a:latin typeface="Montserrat" panose="00000500000000000000" pitchFamily="2" charset="0"/>
              </a:rPr>
              <a:t>BeYOND</a:t>
            </a:r>
            <a:r>
              <a:rPr lang="nl-NL" sz="2400">
                <a:solidFill>
                  <a:srgbClr val="FFFFFF"/>
                </a:solidFill>
                <a:latin typeface="Montserrat" panose="00000500000000000000" pitchFamily="2" charset="0"/>
              </a:rPr>
              <a:t> COMPLIANCE </a:t>
            </a: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63492908-7E25-301D-303D-D9DF2919E57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24232" y="5543886"/>
            <a:ext cx="1440975" cy="1180492"/>
          </a:xfrm>
          <a:prstGeom prst="rect">
            <a:avLst/>
          </a:prstGeom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8F48B5A7-E18A-32EB-0F30-AC9EB2B57E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3818" l="5680" r="93600">
                        <a14:foregroundMark x1="12560" y1="42455" x2="12560" y2="42455"/>
                        <a14:foregroundMark x1="9200" y1="69364" x2="9200" y2="69364"/>
                        <a14:foregroundMark x1="5760" y1="74636" x2="5760" y2="74636"/>
                        <a14:foregroundMark x1="42880" y1="40455" x2="42880" y2="40455"/>
                        <a14:foregroundMark x1="76800" y1="41727" x2="76800" y2="41727"/>
                        <a14:foregroundMark x1="93600" y1="58636" x2="93600" y2="58636"/>
                        <a14:foregroundMark x1="88480" y1="82273" x2="88480" y2="82273"/>
                        <a14:foregroundMark x1="90800" y1="93909" x2="90800" y2="93909"/>
                        <a14:foregroundMark x1="76560" y1="83091" x2="76560" y2="83091"/>
                        <a14:foregroundMark x1="71120" y1="90364" x2="71120" y2="90364"/>
                        <a14:foregroundMark x1="57040" y1="88818" x2="57040" y2="88818"/>
                        <a14:foregroundMark x1="52080" y1="84636" x2="52080" y2="84636"/>
                        <a14:foregroundMark x1="40880" y1="82455" x2="40880" y2="82455"/>
                        <a14:foregroundMark x1="32960" y1="85818" x2="32960" y2="85818"/>
                        <a14:foregroundMark x1="19520" y1="82727" x2="19520" y2="82727"/>
                        <a14:foregroundMark x1="12000" y1="86091" x2="12000" y2="86091"/>
                        <a14:foregroundMark x1="5680" y1="71182" x2="5680" y2="71182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4283"/>
          <a:stretch/>
        </p:blipFill>
        <p:spPr bwMode="auto">
          <a:xfrm>
            <a:off x="10546746" y="5910709"/>
            <a:ext cx="822432" cy="475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80">
            <a:extLst>
              <a:ext uri="{FF2B5EF4-FFF2-40B4-BE49-F238E27FC236}">
                <a16:creationId xmlns:a16="http://schemas.microsoft.com/office/drawing/2014/main" id="{9939897E-6A1D-B7D8-C75F-F1BF9B83EE41}"/>
              </a:ext>
            </a:extLst>
          </p:cNvPr>
          <p:cNvSpPr txBox="1"/>
          <p:nvPr/>
        </p:nvSpPr>
        <p:spPr>
          <a:xfrm>
            <a:off x="250907" y="241646"/>
            <a:ext cx="7487273" cy="1269258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 defTabSz="914343">
              <a:defRPr/>
            </a:pPr>
            <a:r>
              <a:rPr lang="en-US" sz="16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ESG actieplan &amp; continu verbeteren</a:t>
            </a:r>
            <a:br>
              <a:rPr lang="en-US" sz="1800" b="1" kern="0" noProof="1">
                <a:solidFill>
                  <a:srgbClr val="F3FBF7"/>
                </a:solidFill>
                <a:latin typeface="Montserrat" panose="00000500000000000000" pitchFamily="2" charset="0"/>
              </a:rPr>
            </a:br>
            <a:r>
              <a:rPr lang="en-US" sz="3402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5. REALISEER</a:t>
            </a:r>
          </a:p>
          <a:p>
            <a:pPr defTabSz="914343">
              <a:defRPr/>
            </a:pPr>
            <a:r>
              <a:rPr lang="nl-NL" sz="1323" kern="0" noProof="1">
                <a:solidFill>
                  <a:srgbClr val="F3FBF7"/>
                </a:solidFill>
                <a:latin typeface="Montserrat" panose="00000500000000000000" pitchFamily="2" charset="0"/>
              </a:rPr>
              <a:t>Verbeteracties en cascadeer actieplan binnen organisatie. Integreer in governance en (Agile) projectmanagement structuur en communiceer. 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5BB250F1-0967-E45C-3BF6-61AE3051C7E7}"/>
              </a:ext>
            </a:extLst>
          </p:cNvPr>
          <p:cNvSpPr txBox="1"/>
          <p:nvPr/>
        </p:nvSpPr>
        <p:spPr>
          <a:xfrm>
            <a:off x="58471" y="2219103"/>
            <a:ext cx="3896344" cy="294975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270005" indent="-270005" defTabSz="864017">
              <a:buFont typeface="Arial" panose="020B0604020202020204" pitchFamily="34" charset="0"/>
              <a:buChar char="•"/>
              <a:defRPr/>
            </a:pPr>
            <a:r>
              <a:rPr lang="nl-NL" sz="1200" b="1" kern="0" err="1">
                <a:solidFill>
                  <a:srgbClr val="236B47"/>
                </a:solidFill>
                <a:latin typeface="Montserrat" panose="00000500000000000000" pitchFamily="2" charset="0"/>
              </a:rPr>
              <a:t>Cascadeer</a:t>
            </a:r>
            <a:r>
              <a:rPr lang="nl-NL" sz="1200" kern="0">
                <a:solidFill>
                  <a:srgbClr val="236B47"/>
                </a:solidFill>
                <a:latin typeface="Montserrat" panose="00000500000000000000" pitchFamily="2" charset="0"/>
              </a:rPr>
              <a:t> corporate actieplan binnen organisatie naar business actieplannen, passend bij organisatie- en managementstructuur. </a:t>
            </a:r>
          </a:p>
          <a:p>
            <a:pPr marL="270005" indent="-270005" defTabSz="864017">
              <a:buFont typeface="Arial" panose="020B0604020202020204" pitchFamily="34" charset="0"/>
              <a:buChar char="•"/>
              <a:defRPr/>
            </a:pPr>
            <a:r>
              <a:rPr lang="nl-NL" sz="1200" b="1" kern="0">
                <a:solidFill>
                  <a:srgbClr val="236B47"/>
                </a:solidFill>
                <a:latin typeface="Montserrat" panose="00000500000000000000" pitchFamily="2" charset="0"/>
              </a:rPr>
              <a:t>Ondersteun</a:t>
            </a:r>
            <a:r>
              <a:rPr lang="nl-NL" sz="1200" kern="0">
                <a:solidFill>
                  <a:srgbClr val="236B47"/>
                </a:solidFill>
                <a:latin typeface="Montserrat" panose="00000500000000000000" pitchFamily="2" charset="0"/>
              </a:rPr>
              <a:t> bedrijfsonderdelen met (1) tactisch en operationeel ESG inzicht, (2) materiaal en middelen en (3) actieve begeleiding en training in de opstartfase.</a:t>
            </a:r>
          </a:p>
          <a:p>
            <a:pPr marL="269875" indent="-269875" defTabSz="864017">
              <a:buClr>
                <a:srgbClr val="2E8C5E"/>
              </a:buClr>
              <a:buFont typeface="Arial" panose="020B0604020202020204" pitchFamily="34" charset="0"/>
              <a:buChar char="•"/>
              <a:defRPr/>
            </a:pPr>
            <a:r>
              <a:rPr lang="nl-NL" sz="1200" b="1" kern="0">
                <a:solidFill>
                  <a:srgbClr val="236B47"/>
                </a:solidFill>
                <a:latin typeface="Montserrat"/>
              </a:rPr>
              <a:t>Integreer </a:t>
            </a:r>
            <a:r>
              <a:rPr lang="nl-NL" sz="1200" kern="0">
                <a:solidFill>
                  <a:srgbClr val="236B47"/>
                </a:solidFill>
                <a:latin typeface="Montserrat"/>
              </a:rPr>
              <a:t>ESG topics in de businessplannen per bedrijfsonderdeel.</a:t>
            </a:r>
          </a:p>
          <a:p>
            <a:pPr marL="269875" indent="-269875" defTabSz="864017">
              <a:buClr>
                <a:srgbClr val="2E8C5E"/>
              </a:buClr>
              <a:buFont typeface="Arial" panose="020B0604020202020204" pitchFamily="34" charset="0"/>
              <a:buChar char="•"/>
              <a:defRPr/>
            </a:pPr>
            <a:r>
              <a:rPr lang="nl-NL" sz="1200" b="1" kern="0">
                <a:solidFill>
                  <a:srgbClr val="236B47"/>
                </a:solidFill>
                <a:latin typeface="Montserrat"/>
              </a:rPr>
              <a:t>Definieer</a:t>
            </a:r>
            <a:r>
              <a:rPr lang="nl-NL" sz="1200" kern="0">
                <a:solidFill>
                  <a:srgbClr val="236B47"/>
                </a:solidFill>
                <a:latin typeface="Montserrat"/>
              </a:rPr>
              <a:t> projectportfolio en prioriteer o.b.v. ESG KPI’s. </a:t>
            </a:r>
            <a:r>
              <a:rPr lang="nl-NL" sz="1200" kern="0">
                <a:solidFill>
                  <a:srgbClr val="236B47"/>
                </a:solidFill>
                <a:latin typeface="Montserrat" panose="00000500000000000000" pitchFamily="2" charset="0"/>
              </a:rPr>
              <a:t>Focus op integratie van ESG in de bedrijfsvoering t.o.v. losstaande projecten.</a:t>
            </a:r>
            <a:endParaRPr lang="nl-NL" sz="1200" kern="0">
              <a:solidFill>
                <a:srgbClr val="236B47"/>
              </a:solidFill>
              <a:latin typeface="Montserrat"/>
            </a:endParaRPr>
          </a:p>
          <a:p>
            <a:pPr marL="270005" indent="-270005" defTabSz="864017">
              <a:buClr>
                <a:srgbClr val="2E8C5E"/>
              </a:buClr>
              <a:buFont typeface="Arial" panose="020B0604020202020204" pitchFamily="34" charset="0"/>
              <a:buChar char="•"/>
              <a:defRPr/>
            </a:pPr>
            <a:r>
              <a:rPr lang="nl-NL" sz="1200" b="1" kern="0">
                <a:solidFill>
                  <a:srgbClr val="236B47"/>
                </a:solidFill>
                <a:latin typeface="Montserrat"/>
              </a:rPr>
              <a:t>Uitvoer </a:t>
            </a:r>
            <a:r>
              <a:rPr lang="nl-NL" sz="1200" kern="0">
                <a:solidFill>
                  <a:srgbClr val="236B47"/>
                </a:solidFill>
                <a:latin typeface="Montserrat"/>
              </a:rPr>
              <a:t>van projecten in bestaande (Agile) projectmanagementstructuur.</a:t>
            </a:r>
            <a:endParaRPr lang="nl-NL" sz="1200" b="1" kern="0">
              <a:solidFill>
                <a:srgbClr val="236B47"/>
              </a:solidFill>
              <a:latin typeface="Montserrat" panose="00000500000000000000" pitchFamily="2" charset="0"/>
            </a:endParaRPr>
          </a:p>
          <a:p>
            <a:pPr marL="269875" indent="-269875" defTabSz="864017">
              <a:buClr>
                <a:srgbClr val="2E8C5E"/>
              </a:buClr>
              <a:buFont typeface="Arial" panose="020B0604020202020204" pitchFamily="34" charset="0"/>
              <a:buChar char="•"/>
              <a:defRPr/>
            </a:pPr>
            <a:r>
              <a:rPr lang="nl-NL" sz="1200" b="1" kern="0">
                <a:solidFill>
                  <a:srgbClr val="236B47"/>
                </a:solidFill>
                <a:latin typeface="Montserrat"/>
              </a:rPr>
              <a:t>Bevorderen</a:t>
            </a:r>
            <a:r>
              <a:rPr lang="nl-NL" sz="1200" kern="0">
                <a:solidFill>
                  <a:srgbClr val="236B47"/>
                </a:solidFill>
                <a:latin typeface="Montserrat"/>
              </a:rPr>
              <a:t> van aanpassingen en continue verbetering van processen en resultaten.</a:t>
            </a:r>
          </a:p>
          <a:p>
            <a:pPr marL="269875" indent="-269875" defTabSz="864017">
              <a:buClr>
                <a:srgbClr val="2E8C5E"/>
              </a:buClr>
              <a:buFont typeface="Arial" panose="020B0604020202020204" pitchFamily="34" charset="0"/>
              <a:buChar char="•"/>
              <a:defRPr/>
            </a:pPr>
            <a:endParaRPr lang="en-TT" sz="1200">
              <a:solidFill>
                <a:srgbClr val="555C6B"/>
              </a:solidFill>
              <a:latin typeface="Montserra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597D548B-6C4A-1F35-2821-58596837FEFB}"/>
              </a:ext>
            </a:extLst>
          </p:cNvPr>
          <p:cNvSpPr txBox="1"/>
          <p:nvPr/>
        </p:nvSpPr>
        <p:spPr>
          <a:xfrm>
            <a:off x="8635489" y="205295"/>
            <a:ext cx="2634092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64017">
              <a:buClr>
                <a:srgbClr val="236B47"/>
              </a:buClr>
            </a:pPr>
            <a:r>
              <a:rPr lang="nl-NL" sz="1000" kern="0" noProof="1">
                <a:solidFill>
                  <a:srgbClr val="F3FBF7"/>
                </a:solidFill>
                <a:latin typeface="Montserrat" panose="00000500000000000000" pitchFamily="2" charset="0"/>
              </a:rPr>
              <a:t>Agile backlog of projectplanning met verbeteracties</a:t>
            </a:r>
          </a:p>
          <a:p>
            <a:pPr defTabSz="864017">
              <a:buClr>
                <a:srgbClr val="236B47"/>
              </a:buClr>
            </a:pPr>
            <a:endParaRPr lang="nl-NL" sz="1000" kern="0" noProof="1">
              <a:solidFill>
                <a:srgbClr val="F3FBF7"/>
              </a:solidFill>
              <a:latin typeface="Montserrat" panose="00000500000000000000" pitchFamily="2" charset="0"/>
            </a:endParaRPr>
          </a:p>
          <a:p>
            <a:pPr defTabSz="864017">
              <a:buClr>
                <a:srgbClr val="236B47"/>
              </a:buClr>
            </a:pPr>
            <a:r>
              <a:rPr lang="nl-NL" sz="1000" kern="0" noProof="1">
                <a:solidFill>
                  <a:srgbClr val="F3FBF7"/>
                </a:solidFill>
                <a:latin typeface="Montserrat" panose="00000500000000000000" pitchFamily="2" charset="0"/>
              </a:rPr>
              <a:t>Communicatieplan</a:t>
            </a:r>
          </a:p>
          <a:p>
            <a:pPr defTabSz="864017">
              <a:buClr>
                <a:srgbClr val="236B47"/>
              </a:buClr>
            </a:pPr>
            <a:endParaRPr lang="nl-NL" sz="1000" kern="0" noProof="1">
              <a:solidFill>
                <a:srgbClr val="F3FBF7"/>
              </a:solidFill>
              <a:latin typeface="Montserrat" panose="00000500000000000000" pitchFamily="2" charset="0"/>
            </a:endParaRPr>
          </a:p>
          <a:p>
            <a:pPr defTabSz="864017">
              <a:buClr>
                <a:srgbClr val="236B47"/>
              </a:buClr>
            </a:pPr>
            <a:r>
              <a:rPr lang="nl-NL" sz="1000" kern="0" noProof="1">
                <a:solidFill>
                  <a:srgbClr val="F3FBF7"/>
                </a:solidFill>
                <a:latin typeface="Montserrat" panose="00000500000000000000" pitchFamily="2" charset="0"/>
              </a:rPr>
              <a:t>Ondersteunend inzicht, materiaal, middelen en opstartbegeleiding t.b.v. cascadering binnen organisatie</a:t>
            </a:r>
            <a:endParaRPr lang="en-GB" sz="1000">
              <a:solidFill>
                <a:srgbClr val="555C6B"/>
              </a:solidFill>
              <a:latin typeface="Calibri"/>
            </a:endParaRPr>
          </a:p>
        </p:txBody>
      </p:sp>
      <p:sp>
        <p:nvSpPr>
          <p:cNvPr id="8" name="Rechthoek 7">
            <a:extLst>
              <a:ext uri="{FF2B5EF4-FFF2-40B4-BE49-F238E27FC236}">
                <a16:creationId xmlns:a16="http://schemas.microsoft.com/office/drawing/2014/main" id="{DABC21D6-C392-454E-363F-361CE2F55184}"/>
              </a:ext>
            </a:extLst>
          </p:cNvPr>
          <p:cNvSpPr/>
          <p:nvPr/>
        </p:nvSpPr>
        <p:spPr>
          <a:xfrm>
            <a:off x="7843824" y="156495"/>
            <a:ext cx="3460678" cy="1426454"/>
          </a:xfrm>
          <a:prstGeom prst="rect">
            <a:avLst/>
          </a:prstGeom>
          <a:noFill/>
          <a:ln w="38100" cap="rnd">
            <a:solidFill>
              <a:srgbClr val="3FBE80"/>
            </a:solidFill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</a:pPr>
            <a:endParaRPr lang="en-GB" sz="85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44" name="Groep 43">
            <a:extLst>
              <a:ext uri="{FF2B5EF4-FFF2-40B4-BE49-F238E27FC236}">
                <a16:creationId xmlns:a16="http://schemas.microsoft.com/office/drawing/2014/main" id="{382542E0-61D9-BA4E-1CA7-2916FB8DF0B4}"/>
              </a:ext>
            </a:extLst>
          </p:cNvPr>
          <p:cNvGrpSpPr/>
          <p:nvPr/>
        </p:nvGrpSpPr>
        <p:grpSpPr>
          <a:xfrm>
            <a:off x="3762758" y="2305192"/>
            <a:ext cx="7541744" cy="2576013"/>
            <a:chOff x="3917553" y="1826649"/>
            <a:chExt cx="7541744" cy="2576013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D66D75B4-837D-035B-16A0-1B187A2CD2C4}"/>
                </a:ext>
              </a:extLst>
            </p:cNvPr>
            <p:cNvSpPr/>
            <p:nvPr/>
          </p:nvSpPr>
          <p:spPr>
            <a:xfrm>
              <a:off x="4037961" y="2190815"/>
              <a:ext cx="1173831" cy="424811"/>
            </a:xfrm>
            <a:prstGeom prst="rect">
              <a:avLst/>
            </a:prstGeom>
            <a:solidFill>
              <a:srgbClr val="236B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31979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863959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295938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727917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159896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591875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023854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455833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32008"/>
              <a:r>
                <a:rPr lang="en-GB" sz="760" b="1">
                  <a:solidFill>
                    <a:srgbClr val="F4F6F8"/>
                  </a:solidFill>
                  <a:latin typeface="Montserrat" panose="00000500000000000000" pitchFamily="2" charset="0"/>
                  <a:cs typeface="Arial" panose="020B0604020202020204" pitchFamily="34" charset="0"/>
                </a:rPr>
                <a:t>Corporate strategy</a:t>
              </a: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6BF74375-0B81-E23A-B9BA-AF74C4DDDADE}"/>
                </a:ext>
              </a:extLst>
            </p:cNvPr>
            <p:cNvSpPr/>
            <p:nvPr/>
          </p:nvSpPr>
          <p:spPr>
            <a:xfrm>
              <a:off x="5286273" y="2190815"/>
              <a:ext cx="1173831" cy="424811"/>
            </a:xfrm>
            <a:prstGeom prst="rect">
              <a:avLst/>
            </a:prstGeom>
            <a:solidFill>
              <a:srgbClr val="236B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31979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863959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295938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727917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159896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591875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023854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455833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32008"/>
              <a:r>
                <a:rPr lang="en-GB" sz="760" b="1">
                  <a:solidFill>
                    <a:srgbClr val="F4F6F8"/>
                  </a:solidFill>
                  <a:latin typeface="Montserrat" panose="00000500000000000000" pitchFamily="2" charset="0"/>
                  <a:cs typeface="Arial" panose="020B0604020202020204" pitchFamily="34" charset="0"/>
                </a:rPr>
                <a:t>Business </a:t>
              </a:r>
            </a:p>
            <a:p>
              <a:pPr algn="ctr" defTabSz="432008"/>
              <a:r>
                <a:rPr lang="en-GB" sz="760" b="1" err="1">
                  <a:solidFill>
                    <a:srgbClr val="F4F6F8"/>
                  </a:solidFill>
                  <a:latin typeface="Montserrat" panose="00000500000000000000" pitchFamily="2" charset="0"/>
                  <a:cs typeface="Arial" panose="020B0604020202020204" pitchFamily="34" charset="0"/>
                </a:rPr>
                <a:t>actieplan</a:t>
              </a:r>
              <a:endParaRPr lang="en-GB" sz="760" b="1">
                <a:solidFill>
                  <a:srgbClr val="F4F6F8"/>
                </a:solidFill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EB2FB9A0-D713-633A-DC36-519059E456BA}"/>
                </a:ext>
              </a:extLst>
            </p:cNvPr>
            <p:cNvSpPr/>
            <p:nvPr/>
          </p:nvSpPr>
          <p:spPr>
            <a:xfrm>
              <a:off x="6534585" y="2190815"/>
              <a:ext cx="1173831" cy="424811"/>
            </a:xfrm>
            <a:prstGeom prst="rect">
              <a:avLst/>
            </a:prstGeom>
            <a:solidFill>
              <a:srgbClr val="236B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31979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863959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295938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727917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159896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591875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023854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455833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32008"/>
              <a:r>
                <a:rPr lang="en-GB" sz="760" b="1">
                  <a:solidFill>
                    <a:srgbClr val="F4F6F8"/>
                  </a:solidFill>
                  <a:latin typeface="Montserrat" panose="00000500000000000000" pitchFamily="2" charset="0"/>
                  <a:cs typeface="Arial" panose="020B0604020202020204" pitchFamily="34" charset="0"/>
                </a:rPr>
                <a:t>Portfolio definition </a:t>
              </a: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A7923C3C-02F0-5364-C3FD-C6A75009823F}"/>
                </a:ext>
              </a:extLst>
            </p:cNvPr>
            <p:cNvSpPr/>
            <p:nvPr/>
          </p:nvSpPr>
          <p:spPr>
            <a:xfrm>
              <a:off x="7782897" y="2190815"/>
              <a:ext cx="1173831" cy="424811"/>
            </a:xfrm>
            <a:prstGeom prst="rect">
              <a:avLst/>
            </a:prstGeom>
            <a:solidFill>
              <a:srgbClr val="236B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31979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863959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295938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727917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159896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591875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023854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455833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32008"/>
              <a:r>
                <a:rPr lang="en-GB" sz="760" b="1">
                  <a:solidFill>
                    <a:srgbClr val="F4F6F8"/>
                  </a:solidFill>
                  <a:latin typeface="Montserrat" panose="00000500000000000000" pitchFamily="2" charset="0"/>
                  <a:cs typeface="Arial" panose="020B0604020202020204" pitchFamily="34" charset="0"/>
                </a:rPr>
                <a:t>Portfolio prioritization</a:t>
              </a: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C8DD33FA-AC15-E36E-9785-01E8D1C44FF4}"/>
                </a:ext>
              </a:extLst>
            </p:cNvPr>
            <p:cNvSpPr/>
            <p:nvPr/>
          </p:nvSpPr>
          <p:spPr>
            <a:xfrm>
              <a:off x="9031209" y="2190815"/>
              <a:ext cx="1173831" cy="424811"/>
            </a:xfrm>
            <a:prstGeom prst="rect">
              <a:avLst/>
            </a:prstGeom>
            <a:solidFill>
              <a:srgbClr val="236B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31979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863959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295938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727917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159896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591875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023854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455833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32008"/>
              <a:r>
                <a:rPr lang="en-GB" sz="760" b="1">
                  <a:solidFill>
                    <a:srgbClr val="F4F6F8"/>
                  </a:solidFill>
                  <a:latin typeface="Montserrat" panose="00000500000000000000" pitchFamily="2" charset="0"/>
                  <a:cs typeface="Arial" panose="020B0604020202020204" pitchFamily="34" charset="0"/>
                </a:rPr>
                <a:t>Project delivery</a:t>
              </a: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318D1000-8B32-4B07-44F8-76DF443B3DE6}"/>
                </a:ext>
              </a:extLst>
            </p:cNvPr>
            <p:cNvSpPr/>
            <p:nvPr/>
          </p:nvSpPr>
          <p:spPr>
            <a:xfrm>
              <a:off x="10285466" y="2190815"/>
              <a:ext cx="1173831" cy="424811"/>
            </a:xfrm>
            <a:prstGeom prst="rect">
              <a:avLst/>
            </a:prstGeom>
            <a:solidFill>
              <a:srgbClr val="236B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31979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863959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295938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727917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159896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591875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023854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455833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32008"/>
              <a:r>
                <a:rPr lang="en-GB" sz="760" b="1">
                  <a:solidFill>
                    <a:srgbClr val="F4F6F8"/>
                  </a:solidFill>
                  <a:latin typeface="Montserrat" panose="00000500000000000000" pitchFamily="2" charset="0"/>
                  <a:cs typeface="Arial" panose="020B0604020202020204" pitchFamily="34" charset="0"/>
                </a:rPr>
                <a:t>Continuous improvement</a:t>
              </a:r>
            </a:p>
          </p:txBody>
        </p:sp>
        <p:sp>
          <p:nvSpPr>
            <p:cNvPr id="16" name="Vierkante haak links 15">
              <a:extLst>
                <a:ext uri="{FF2B5EF4-FFF2-40B4-BE49-F238E27FC236}">
                  <a16:creationId xmlns:a16="http://schemas.microsoft.com/office/drawing/2014/main" id="{F993EA68-6D52-A345-FB8B-FD3E5AEF5423}"/>
                </a:ext>
              </a:extLst>
            </p:cNvPr>
            <p:cNvSpPr/>
            <p:nvPr/>
          </p:nvSpPr>
          <p:spPr>
            <a:xfrm rot="5400000">
              <a:off x="5250315" y="1083393"/>
              <a:ext cx="71913" cy="2029191"/>
            </a:xfrm>
            <a:prstGeom prst="leftBracket">
              <a:avLst/>
            </a:prstGeom>
            <a:ln>
              <a:solidFill>
                <a:srgbClr val="236B4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32008"/>
              <a:endParaRPr lang="en-GB" sz="1701">
                <a:solidFill>
                  <a:srgbClr val="555C6B"/>
                </a:solidFill>
                <a:latin typeface="Calibri"/>
              </a:endParaRPr>
            </a:p>
          </p:txBody>
        </p:sp>
        <p:sp>
          <p:nvSpPr>
            <p:cNvPr id="17" name="Vierkante haak links 16">
              <a:extLst>
                <a:ext uri="{FF2B5EF4-FFF2-40B4-BE49-F238E27FC236}">
                  <a16:creationId xmlns:a16="http://schemas.microsoft.com/office/drawing/2014/main" id="{C9DB97B3-9119-74C2-A92F-3D8C91A75075}"/>
                </a:ext>
              </a:extLst>
            </p:cNvPr>
            <p:cNvSpPr/>
            <p:nvPr/>
          </p:nvSpPr>
          <p:spPr>
            <a:xfrm rot="5400000">
              <a:off x="7702223" y="1083393"/>
              <a:ext cx="71913" cy="2029191"/>
            </a:xfrm>
            <a:prstGeom prst="leftBracket">
              <a:avLst/>
            </a:prstGeom>
            <a:ln>
              <a:solidFill>
                <a:srgbClr val="236B4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32008"/>
              <a:endParaRPr lang="en-GB" sz="1701">
                <a:solidFill>
                  <a:srgbClr val="555C6B"/>
                </a:solidFill>
                <a:latin typeface="Calibri"/>
              </a:endParaRPr>
            </a:p>
          </p:txBody>
        </p:sp>
        <p:sp>
          <p:nvSpPr>
            <p:cNvPr id="18" name="Vierkante haak links 17">
              <a:extLst>
                <a:ext uri="{FF2B5EF4-FFF2-40B4-BE49-F238E27FC236}">
                  <a16:creationId xmlns:a16="http://schemas.microsoft.com/office/drawing/2014/main" id="{A24DEFAF-1719-D980-04BF-0BBA29A9C681}"/>
                </a:ext>
              </a:extLst>
            </p:cNvPr>
            <p:cNvSpPr/>
            <p:nvPr/>
          </p:nvSpPr>
          <p:spPr>
            <a:xfrm rot="5400000">
              <a:off x="10169083" y="1083393"/>
              <a:ext cx="71913" cy="2029191"/>
            </a:xfrm>
            <a:prstGeom prst="leftBracket">
              <a:avLst/>
            </a:prstGeom>
            <a:ln>
              <a:solidFill>
                <a:srgbClr val="236B4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32008"/>
              <a:endParaRPr lang="en-GB" sz="1701">
                <a:solidFill>
                  <a:srgbClr val="555C6B"/>
                </a:solidFill>
                <a:latin typeface="Calibri"/>
              </a:endParaRPr>
            </a:p>
          </p:txBody>
        </p:sp>
        <p:sp>
          <p:nvSpPr>
            <p:cNvPr id="19" name="Tekstvak 18">
              <a:extLst>
                <a:ext uri="{FF2B5EF4-FFF2-40B4-BE49-F238E27FC236}">
                  <a16:creationId xmlns:a16="http://schemas.microsoft.com/office/drawing/2014/main" id="{5FF9F4EC-3AB1-041C-4B3B-87ADD511108C}"/>
                </a:ext>
              </a:extLst>
            </p:cNvPr>
            <p:cNvSpPr txBox="1"/>
            <p:nvPr/>
          </p:nvSpPr>
          <p:spPr>
            <a:xfrm>
              <a:off x="5019129" y="1826649"/>
              <a:ext cx="2054001" cy="2238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buClr>
                  <a:schemeClr val="accent3"/>
                </a:buClr>
              </a:pPr>
              <a:r>
                <a:rPr lang="en-TT" sz="1050" b="1" kern="0" err="1">
                  <a:solidFill>
                    <a:srgbClr val="236B47"/>
                  </a:solidFill>
                  <a:latin typeface="Montserrat" panose="00000500000000000000" pitchFamily="2" charset="0"/>
                </a:rPr>
                <a:t>Sturen</a:t>
              </a:r>
              <a:endParaRPr lang="en-TT" sz="1050" b="1" kern="0">
                <a:solidFill>
                  <a:srgbClr val="236B47"/>
                </a:solidFill>
                <a:latin typeface="Montserrat" panose="00000500000000000000" pitchFamily="2" charset="0"/>
              </a:endParaRPr>
            </a:p>
          </p:txBody>
        </p:sp>
        <p:sp>
          <p:nvSpPr>
            <p:cNvPr id="20" name="Tekstvak 19">
              <a:extLst>
                <a:ext uri="{FF2B5EF4-FFF2-40B4-BE49-F238E27FC236}">
                  <a16:creationId xmlns:a16="http://schemas.microsoft.com/office/drawing/2014/main" id="{D78B705C-28E3-707F-B904-B8972E4397FC}"/>
                </a:ext>
              </a:extLst>
            </p:cNvPr>
            <p:cNvSpPr txBox="1"/>
            <p:nvPr/>
          </p:nvSpPr>
          <p:spPr>
            <a:xfrm>
              <a:off x="7258400" y="1826649"/>
              <a:ext cx="2054001" cy="2238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buClr>
                  <a:schemeClr val="accent3"/>
                </a:buClr>
              </a:pPr>
              <a:r>
                <a:rPr lang="en-TT" sz="1050" b="1" kern="0" err="1">
                  <a:solidFill>
                    <a:srgbClr val="236B47"/>
                  </a:solidFill>
                  <a:latin typeface="Montserrat" panose="00000500000000000000" pitchFamily="2" charset="0"/>
                </a:rPr>
                <a:t>Organiseren</a:t>
              </a:r>
              <a:endParaRPr lang="en-TT" sz="1050" b="1" kern="0">
                <a:solidFill>
                  <a:srgbClr val="236B47"/>
                </a:solidFill>
                <a:latin typeface="Montserrat" panose="00000500000000000000" pitchFamily="2" charset="0"/>
              </a:endParaRPr>
            </a:p>
          </p:txBody>
        </p:sp>
        <p:sp>
          <p:nvSpPr>
            <p:cNvPr id="21" name="Tekstvak 20">
              <a:extLst>
                <a:ext uri="{FF2B5EF4-FFF2-40B4-BE49-F238E27FC236}">
                  <a16:creationId xmlns:a16="http://schemas.microsoft.com/office/drawing/2014/main" id="{7B46AC7D-BAF1-1B39-DF85-DF88DBA9EB72}"/>
                </a:ext>
              </a:extLst>
            </p:cNvPr>
            <p:cNvSpPr txBox="1"/>
            <p:nvPr/>
          </p:nvSpPr>
          <p:spPr>
            <a:xfrm>
              <a:off x="9753799" y="1826649"/>
              <a:ext cx="1210375" cy="2238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>
                <a:buClr>
                  <a:schemeClr val="accent3"/>
                </a:buClr>
              </a:pPr>
              <a:r>
                <a:rPr lang="en-TT" sz="1050" b="1" kern="0" err="1">
                  <a:solidFill>
                    <a:srgbClr val="236B47"/>
                  </a:solidFill>
                  <a:latin typeface="Montserrat" panose="00000500000000000000" pitchFamily="2" charset="0"/>
                </a:rPr>
                <a:t>Realiseren</a:t>
              </a:r>
              <a:r>
                <a:rPr lang="en-TT" sz="90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 </a:t>
              </a:r>
            </a:p>
          </p:txBody>
        </p:sp>
        <p:sp>
          <p:nvSpPr>
            <p:cNvPr id="22" name="Rechthoek 21">
              <a:extLst>
                <a:ext uri="{FF2B5EF4-FFF2-40B4-BE49-F238E27FC236}">
                  <a16:creationId xmlns:a16="http://schemas.microsoft.com/office/drawing/2014/main" id="{C06E9C35-35D5-0270-B512-2278E39697C9}"/>
                </a:ext>
              </a:extLst>
            </p:cNvPr>
            <p:cNvSpPr/>
            <p:nvPr/>
          </p:nvSpPr>
          <p:spPr>
            <a:xfrm>
              <a:off x="4037961" y="2224919"/>
              <a:ext cx="1173831" cy="390708"/>
            </a:xfrm>
            <a:prstGeom prst="rect">
              <a:avLst/>
            </a:prstGeom>
            <a:solidFill>
              <a:srgbClr val="236B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31979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863959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295938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727917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159896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591875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023854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455833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32008"/>
              <a:r>
                <a:rPr lang="en-GB" sz="760" b="1">
                  <a:solidFill>
                    <a:srgbClr val="F4F6F8"/>
                  </a:solidFill>
                  <a:latin typeface="Montserrat" panose="00000500000000000000" pitchFamily="2" charset="0"/>
                  <a:cs typeface="Arial" panose="020B0604020202020204" pitchFamily="34" charset="0"/>
                </a:rPr>
                <a:t>Corporate </a:t>
              </a:r>
              <a:r>
                <a:rPr lang="en-GB" sz="760" b="1" err="1">
                  <a:solidFill>
                    <a:srgbClr val="F4F6F8"/>
                  </a:solidFill>
                  <a:latin typeface="Montserrat" panose="00000500000000000000" pitchFamily="2" charset="0"/>
                  <a:cs typeface="Arial" panose="020B0604020202020204" pitchFamily="34" charset="0"/>
                </a:rPr>
                <a:t>actieplan</a:t>
              </a:r>
              <a:endParaRPr lang="en-GB" sz="760" b="1">
                <a:solidFill>
                  <a:srgbClr val="F4F6F8"/>
                </a:solidFill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2321627E-F28B-E65B-97A1-D8C648F6FC96}"/>
                </a:ext>
              </a:extLst>
            </p:cNvPr>
            <p:cNvSpPr/>
            <p:nvPr/>
          </p:nvSpPr>
          <p:spPr>
            <a:xfrm>
              <a:off x="4037961" y="2647161"/>
              <a:ext cx="1173831" cy="1755501"/>
            </a:xfrm>
            <a:prstGeom prst="rect">
              <a:avLst/>
            </a:prstGeom>
            <a:noFill/>
            <a:ln>
              <a:solidFill>
                <a:srgbClr val="236B4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31979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863959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295938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727917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159896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591875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023854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455833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32008"/>
              <a:r>
                <a:rPr lang="en-GB" sz="760" b="1">
                  <a:solidFill>
                    <a:srgbClr val="F4F6F8"/>
                  </a:solidFill>
                  <a:latin typeface="Montserrat" panose="00000500000000000000" pitchFamily="2" charset="0"/>
                  <a:cs typeface="Arial" panose="020B0604020202020204" pitchFamily="34" charset="0"/>
                </a:rPr>
                <a:t>Corporate strategy</a:t>
              </a:r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B1A5005F-1DC2-FBD9-8F31-F135A7B7A8F9}"/>
                </a:ext>
              </a:extLst>
            </p:cNvPr>
            <p:cNvSpPr/>
            <p:nvPr/>
          </p:nvSpPr>
          <p:spPr>
            <a:xfrm>
              <a:off x="5286273" y="2647161"/>
              <a:ext cx="1173831" cy="1755501"/>
            </a:xfrm>
            <a:prstGeom prst="rect">
              <a:avLst/>
            </a:prstGeom>
            <a:noFill/>
            <a:ln>
              <a:solidFill>
                <a:srgbClr val="236B4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31979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863959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295938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727917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159896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591875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023854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455833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32008"/>
              <a:r>
                <a:rPr lang="en-GB" sz="760" b="1">
                  <a:solidFill>
                    <a:srgbClr val="F4F6F8"/>
                  </a:solidFill>
                  <a:latin typeface="Montserrat" panose="00000500000000000000" pitchFamily="2" charset="0"/>
                  <a:cs typeface="Arial" panose="020B0604020202020204" pitchFamily="34" charset="0"/>
                </a:rPr>
                <a:t>Corporate strategy</a:t>
              </a:r>
            </a:p>
          </p:txBody>
        </p:sp>
        <p:sp>
          <p:nvSpPr>
            <p:cNvPr id="25" name="Rechthoek 24">
              <a:extLst>
                <a:ext uri="{FF2B5EF4-FFF2-40B4-BE49-F238E27FC236}">
                  <a16:creationId xmlns:a16="http://schemas.microsoft.com/office/drawing/2014/main" id="{3D62379F-F5DC-4050-F48B-D52E547CF503}"/>
                </a:ext>
              </a:extLst>
            </p:cNvPr>
            <p:cNvSpPr/>
            <p:nvPr/>
          </p:nvSpPr>
          <p:spPr>
            <a:xfrm>
              <a:off x="6534585" y="2647161"/>
              <a:ext cx="1173831" cy="1755501"/>
            </a:xfrm>
            <a:prstGeom prst="rect">
              <a:avLst/>
            </a:prstGeom>
            <a:noFill/>
            <a:ln>
              <a:solidFill>
                <a:srgbClr val="236B4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31979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863959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295938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727917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159896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591875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023854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455833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32008"/>
              <a:r>
                <a:rPr lang="en-GB" sz="760" b="1">
                  <a:solidFill>
                    <a:srgbClr val="F4F6F8"/>
                  </a:solidFill>
                  <a:latin typeface="Montserrat" panose="00000500000000000000" pitchFamily="2" charset="0"/>
                  <a:cs typeface="Arial" panose="020B0604020202020204" pitchFamily="34" charset="0"/>
                </a:rPr>
                <a:t>Corporate strategy</a:t>
              </a:r>
            </a:p>
          </p:txBody>
        </p:sp>
        <p:sp>
          <p:nvSpPr>
            <p:cNvPr id="26" name="Rechthoek 25">
              <a:extLst>
                <a:ext uri="{FF2B5EF4-FFF2-40B4-BE49-F238E27FC236}">
                  <a16:creationId xmlns:a16="http://schemas.microsoft.com/office/drawing/2014/main" id="{BD7CDBA6-6915-444B-494A-C6DD78253945}"/>
                </a:ext>
              </a:extLst>
            </p:cNvPr>
            <p:cNvSpPr/>
            <p:nvPr/>
          </p:nvSpPr>
          <p:spPr>
            <a:xfrm>
              <a:off x="7778793" y="2647161"/>
              <a:ext cx="1173831" cy="1755501"/>
            </a:xfrm>
            <a:prstGeom prst="rect">
              <a:avLst/>
            </a:prstGeom>
            <a:noFill/>
            <a:ln>
              <a:solidFill>
                <a:srgbClr val="236B4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31979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863959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295938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727917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159896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591875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023854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455833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32008"/>
              <a:r>
                <a:rPr lang="en-GB" sz="760" b="1">
                  <a:solidFill>
                    <a:srgbClr val="F4F6F8"/>
                  </a:solidFill>
                  <a:latin typeface="Montserrat" panose="00000500000000000000" pitchFamily="2" charset="0"/>
                  <a:cs typeface="Arial" panose="020B0604020202020204" pitchFamily="34" charset="0"/>
                </a:rPr>
                <a:t>Corporate strategy</a:t>
              </a:r>
            </a:p>
          </p:txBody>
        </p:sp>
        <p:sp>
          <p:nvSpPr>
            <p:cNvPr id="27" name="Rechthoek 26">
              <a:extLst>
                <a:ext uri="{FF2B5EF4-FFF2-40B4-BE49-F238E27FC236}">
                  <a16:creationId xmlns:a16="http://schemas.microsoft.com/office/drawing/2014/main" id="{33970E6D-857A-EF22-65EA-11DE75E7B63C}"/>
                </a:ext>
              </a:extLst>
            </p:cNvPr>
            <p:cNvSpPr/>
            <p:nvPr/>
          </p:nvSpPr>
          <p:spPr>
            <a:xfrm>
              <a:off x="9023001" y="2647161"/>
              <a:ext cx="1173831" cy="1755501"/>
            </a:xfrm>
            <a:prstGeom prst="rect">
              <a:avLst/>
            </a:prstGeom>
            <a:noFill/>
            <a:ln>
              <a:solidFill>
                <a:srgbClr val="236B4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31979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863959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295938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727917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159896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591875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023854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455833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32008"/>
              <a:r>
                <a:rPr lang="en-GB" sz="760" b="1">
                  <a:solidFill>
                    <a:srgbClr val="F4F6F8"/>
                  </a:solidFill>
                  <a:latin typeface="Montserrat" panose="00000500000000000000" pitchFamily="2" charset="0"/>
                  <a:cs typeface="Arial" panose="020B0604020202020204" pitchFamily="34" charset="0"/>
                </a:rPr>
                <a:t>Corporate strategy</a:t>
              </a:r>
            </a:p>
          </p:txBody>
        </p:sp>
        <p:sp>
          <p:nvSpPr>
            <p:cNvPr id="28" name="Rechthoek 27">
              <a:extLst>
                <a:ext uri="{FF2B5EF4-FFF2-40B4-BE49-F238E27FC236}">
                  <a16:creationId xmlns:a16="http://schemas.microsoft.com/office/drawing/2014/main" id="{E49E15FF-3847-58AC-6732-FC6F908E69DE}"/>
                </a:ext>
              </a:extLst>
            </p:cNvPr>
            <p:cNvSpPr/>
            <p:nvPr/>
          </p:nvSpPr>
          <p:spPr>
            <a:xfrm>
              <a:off x="10285466" y="2647161"/>
              <a:ext cx="1173831" cy="1755501"/>
            </a:xfrm>
            <a:prstGeom prst="rect">
              <a:avLst/>
            </a:prstGeom>
            <a:noFill/>
            <a:ln>
              <a:solidFill>
                <a:srgbClr val="236B4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l-NL"/>
              </a:defPPr>
              <a:lvl1pPr marL="0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31979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863959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295938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727917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159896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591875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023854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455833" algn="l" defTabSz="863959" rtl="0" eaLnBrk="1" latinLnBrk="0" hangingPunct="1">
                <a:defRPr sz="1701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32008"/>
              <a:r>
                <a:rPr lang="en-GB" sz="760" b="1">
                  <a:solidFill>
                    <a:srgbClr val="F4F6F8"/>
                  </a:solidFill>
                  <a:latin typeface="Montserrat" panose="00000500000000000000" pitchFamily="2" charset="0"/>
                  <a:cs typeface="Arial" panose="020B0604020202020204" pitchFamily="34" charset="0"/>
                </a:rPr>
                <a:t>Corporate strategy</a:t>
              </a:r>
            </a:p>
          </p:txBody>
        </p:sp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5CA30FDA-794F-9670-EA4D-A66AFC2EC8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17553" y="2786331"/>
              <a:ext cx="1414645" cy="1414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6" name="Picture 12" descr="Top 35 Business Strategy Templates For Entrepreneurs">
              <a:extLst>
                <a:ext uri="{FF2B5EF4-FFF2-40B4-BE49-F238E27FC236}">
                  <a16:creationId xmlns:a16="http://schemas.microsoft.com/office/drawing/2014/main" id="{7B9AC13F-63F3-357B-65DB-D120EDFF3ED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84" t="18964" r="47359" b="8980"/>
            <a:stretch/>
          </p:blipFill>
          <p:spPr bwMode="auto">
            <a:xfrm>
              <a:off x="5351286" y="2923389"/>
              <a:ext cx="1043803" cy="11200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8" name="Picture 14">
              <a:extLst>
                <a:ext uri="{FF2B5EF4-FFF2-40B4-BE49-F238E27FC236}">
                  <a16:creationId xmlns:a16="http://schemas.microsoft.com/office/drawing/2014/main" id="{50D5965E-2B3A-9E08-DE0A-2379283D6B7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876" b="8517"/>
            <a:stretch/>
          </p:blipFill>
          <p:spPr bwMode="auto">
            <a:xfrm>
              <a:off x="6548738" y="2918793"/>
              <a:ext cx="1160490" cy="7000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AutoShape 16" descr="What Is Scrum Methodology? &amp; Scrum Project Management">
              <a:extLst>
                <a:ext uri="{FF2B5EF4-FFF2-40B4-BE49-F238E27FC236}">
                  <a16:creationId xmlns:a16="http://schemas.microsoft.com/office/drawing/2014/main" id="{C15266BF-2354-D12C-131D-33D88BA4C080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607050" y="2953365"/>
              <a:ext cx="304800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TT"/>
            </a:p>
          </p:txBody>
        </p:sp>
        <p:pic>
          <p:nvPicPr>
            <p:cNvPr id="32" name="Afbeelding 31" descr="Afbeelding met schermopname, Graphics, cirkel, tekst&#10;&#10;Automatisch gegenereerde beschrijving">
              <a:extLst>
                <a:ext uri="{FF2B5EF4-FFF2-40B4-BE49-F238E27FC236}">
                  <a16:creationId xmlns:a16="http://schemas.microsoft.com/office/drawing/2014/main" id="{F0E1FD76-B377-C324-FA90-CFF2DAA85E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17257" y="3105764"/>
              <a:ext cx="1179575" cy="771804"/>
            </a:xfrm>
            <a:prstGeom prst="rect">
              <a:avLst/>
            </a:prstGeom>
          </p:spPr>
        </p:pic>
        <p:pic>
          <p:nvPicPr>
            <p:cNvPr id="1046" name="Picture 22">
              <a:extLst>
                <a:ext uri="{FF2B5EF4-FFF2-40B4-BE49-F238E27FC236}">
                  <a16:creationId xmlns:a16="http://schemas.microsoft.com/office/drawing/2014/main" id="{92662C8A-4859-C75C-E13E-C9BAFCBB732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309" t="13839" r="23542" b="16592"/>
            <a:stretch/>
          </p:blipFill>
          <p:spPr bwMode="auto">
            <a:xfrm>
              <a:off x="10285466" y="3014319"/>
              <a:ext cx="1124088" cy="8566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8" name="Picture 24">
              <a:extLst>
                <a:ext uri="{FF2B5EF4-FFF2-40B4-BE49-F238E27FC236}">
                  <a16:creationId xmlns:a16="http://schemas.microsoft.com/office/drawing/2014/main" id="{047A7F74-5E67-7A41-04E7-FFF55EEFB97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9522" r="61872"/>
            <a:stretch/>
          </p:blipFill>
          <p:spPr bwMode="auto">
            <a:xfrm>
              <a:off x="7797050" y="3136656"/>
              <a:ext cx="1080648" cy="6121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5" name="Icoon_3_7">
            <a:extLst>
              <a:ext uri="{FF2B5EF4-FFF2-40B4-BE49-F238E27FC236}">
                <a16:creationId xmlns:a16="http://schemas.microsoft.com/office/drawing/2014/main" id="{A02E4C61-477D-F8E6-0453-170AC25F712F}"/>
              </a:ext>
            </a:extLst>
          </p:cNvPr>
          <p:cNvSpPr/>
          <p:nvPr/>
        </p:nvSpPr>
        <p:spPr>
          <a:xfrm rot="17139726">
            <a:off x="8087292" y="639267"/>
            <a:ext cx="341468" cy="336841"/>
          </a:xfrm>
          <a:custGeom>
            <a:avLst/>
            <a:gdLst>
              <a:gd name="connsiteX0" fmla="*/ 181777 w 656384"/>
              <a:gd name="connsiteY0" fmla="*/ 380103 h 647493"/>
              <a:gd name="connsiteX1" fmla="*/ 100823 w 656384"/>
              <a:gd name="connsiteY1" fmla="*/ 247985 h 647493"/>
              <a:gd name="connsiteX2" fmla="*/ 78048 w 656384"/>
              <a:gd name="connsiteY2" fmla="*/ 284246 h 647493"/>
              <a:gd name="connsiteX3" fmla="*/ 138032 w 656384"/>
              <a:gd name="connsiteY3" fmla="*/ 383662 h 647493"/>
              <a:gd name="connsiteX4" fmla="*/ 128070 w 656384"/>
              <a:gd name="connsiteY4" fmla="*/ 47486 h 647493"/>
              <a:gd name="connsiteX5" fmla="*/ 88345 w 656384"/>
              <a:gd name="connsiteY5" fmla="*/ 24000 h 647493"/>
              <a:gd name="connsiteX6" fmla="*/ 24313 w 656384"/>
              <a:gd name="connsiteY6" fmla="*/ 89555 h 647493"/>
              <a:gd name="connsiteX7" fmla="*/ 49293 w 656384"/>
              <a:gd name="connsiteY7" fmla="*/ 128056 h 647493"/>
              <a:gd name="connsiteX8" fmla="*/ 465695 w 656384"/>
              <a:gd name="connsiteY8" fmla="*/ 538512 h 647493"/>
              <a:gd name="connsiteX9" fmla="*/ 465695 w 656384"/>
              <a:gd name="connsiteY9" fmla="*/ 647493 h 647493"/>
              <a:gd name="connsiteX10" fmla="*/ 446642 w 656384"/>
              <a:gd name="connsiteY10" fmla="*/ 647493 h 647493"/>
              <a:gd name="connsiteX11" fmla="*/ 446642 w 656384"/>
              <a:gd name="connsiteY11" fmla="*/ 538512 h 647493"/>
              <a:gd name="connsiteX12" fmla="*/ 602428 w 656384"/>
              <a:gd name="connsiteY12" fmla="*/ 578655 h 647493"/>
              <a:gd name="connsiteX13" fmla="*/ 588971 w 656384"/>
              <a:gd name="connsiteY13" fmla="*/ 592124 h 647493"/>
              <a:gd name="connsiteX14" fmla="*/ 511886 w 656384"/>
              <a:gd name="connsiteY14" fmla="*/ 515107 h 647493"/>
              <a:gd name="connsiteX15" fmla="*/ 525343 w 656384"/>
              <a:gd name="connsiteY15" fmla="*/ 501638 h 647493"/>
              <a:gd name="connsiteX16" fmla="*/ 556408 w 656384"/>
              <a:gd name="connsiteY16" fmla="*/ 300578 h 647493"/>
              <a:gd name="connsiteX17" fmla="*/ 553799 w 656384"/>
              <a:gd name="connsiteY17" fmla="*/ 296917 h 647493"/>
              <a:gd name="connsiteX18" fmla="*/ 144965 w 656384"/>
              <a:gd name="connsiteY18" fmla="*/ 57399 h 647493"/>
              <a:gd name="connsiteX19" fmla="*/ 59745 w 656384"/>
              <a:gd name="connsiteY19" fmla="*/ 144554 h 647493"/>
              <a:gd name="connsiteX20" fmla="*/ 306994 w 656384"/>
              <a:gd name="connsiteY20" fmla="*/ 548084 h 647493"/>
              <a:gd name="connsiteX21" fmla="*/ 312670 w 656384"/>
              <a:gd name="connsiteY21" fmla="*/ 550686 h 647493"/>
              <a:gd name="connsiteX22" fmla="*/ 317086 w 656384"/>
              <a:gd name="connsiteY22" fmla="*/ 548973 h 647493"/>
              <a:gd name="connsiteX23" fmla="*/ 555119 w 656384"/>
              <a:gd name="connsiteY23" fmla="*/ 305400 h 647493"/>
              <a:gd name="connsiteX24" fmla="*/ 556408 w 656384"/>
              <a:gd name="connsiteY24" fmla="*/ 300578 h 647493"/>
              <a:gd name="connsiteX25" fmla="*/ 575165 w 656384"/>
              <a:gd name="connsiteY25" fmla="*/ 297475 h 647493"/>
              <a:gd name="connsiteX26" fmla="*/ 568997 w 656384"/>
              <a:gd name="connsiteY26" fmla="*/ 318416 h 647493"/>
              <a:gd name="connsiteX27" fmla="*/ 330910 w 656384"/>
              <a:gd name="connsiteY27" fmla="*/ 561935 h 647493"/>
              <a:gd name="connsiteX28" fmla="*/ 312000 w 656384"/>
              <a:gd name="connsiteY28" fmla="*/ 569679 h 647493"/>
              <a:gd name="connsiteX29" fmla="*/ 291704 w 656384"/>
              <a:gd name="connsiteY29" fmla="*/ 559493 h 647493"/>
              <a:gd name="connsiteX30" fmla="*/ 291058 w 656384"/>
              <a:gd name="connsiteY30" fmla="*/ 558566 h 647493"/>
              <a:gd name="connsiteX31" fmla="*/ 192302 w 656384"/>
              <a:gd name="connsiteY31" fmla="*/ 397391 h 647493"/>
              <a:gd name="connsiteX32" fmla="*/ 192385 w 656384"/>
              <a:gd name="connsiteY32" fmla="*/ 398357 h 647493"/>
              <a:gd name="connsiteX33" fmla="*/ 127751 w 656384"/>
              <a:gd name="connsiteY33" fmla="*/ 403619 h 647493"/>
              <a:gd name="connsiteX34" fmla="*/ 55656 w 656384"/>
              <a:gd name="connsiteY34" fmla="*/ 284084 h 647493"/>
              <a:gd name="connsiteX35" fmla="*/ 89478 w 656384"/>
              <a:gd name="connsiteY35" fmla="*/ 230244 h 647493"/>
              <a:gd name="connsiteX36" fmla="*/ 90160 w 656384"/>
              <a:gd name="connsiteY36" fmla="*/ 230666 h 647493"/>
              <a:gd name="connsiteX37" fmla="*/ 39719 w 656384"/>
              <a:gd name="connsiteY37" fmla="*/ 148348 h 647493"/>
              <a:gd name="connsiteX38" fmla="*/ 0 w 656384"/>
              <a:gd name="connsiteY38" fmla="*/ 87092 h 647493"/>
              <a:gd name="connsiteX39" fmla="*/ 85138 w 656384"/>
              <a:gd name="connsiteY39" fmla="*/ 0 h 647493"/>
              <a:gd name="connsiteX40" fmla="*/ 147843 w 656384"/>
              <a:gd name="connsiteY40" fmla="*/ 37036 h 647493"/>
              <a:gd name="connsiteX41" fmla="*/ 563283 w 656384"/>
              <a:gd name="connsiteY41" fmla="*/ 280359 h 647493"/>
              <a:gd name="connsiteX42" fmla="*/ 575165 w 656384"/>
              <a:gd name="connsiteY42" fmla="*/ 297475 h 647493"/>
              <a:gd name="connsiteX43" fmla="*/ 656384 w 656384"/>
              <a:gd name="connsiteY43" fmla="*/ 436304 h 647493"/>
              <a:gd name="connsiteX44" fmla="*/ 656384 w 656384"/>
              <a:gd name="connsiteY44" fmla="*/ 455357 h 647493"/>
              <a:gd name="connsiteX45" fmla="*/ 547403 w 656384"/>
              <a:gd name="connsiteY45" fmla="*/ 455357 h 647493"/>
              <a:gd name="connsiteX46" fmla="*/ 547403 w 656384"/>
              <a:gd name="connsiteY46" fmla="*/ 436304 h 647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656384" h="647493">
                <a:moveTo>
                  <a:pt x="181777" y="380103"/>
                </a:moveTo>
                <a:lnTo>
                  <a:pt x="100823" y="247985"/>
                </a:lnTo>
                <a:lnTo>
                  <a:pt x="78048" y="284246"/>
                </a:lnTo>
                <a:lnTo>
                  <a:pt x="138032" y="383662"/>
                </a:lnTo>
                <a:close/>
                <a:moveTo>
                  <a:pt x="128070" y="47486"/>
                </a:moveTo>
                <a:lnTo>
                  <a:pt x="88345" y="24000"/>
                </a:lnTo>
                <a:lnTo>
                  <a:pt x="24313" y="89555"/>
                </a:lnTo>
                <a:lnTo>
                  <a:pt x="49293" y="128056"/>
                </a:lnTo>
                <a:close/>
                <a:moveTo>
                  <a:pt x="465695" y="538512"/>
                </a:moveTo>
                <a:lnTo>
                  <a:pt x="465695" y="647493"/>
                </a:lnTo>
                <a:lnTo>
                  <a:pt x="446642" y="647493"/>
                </a:lnTo>
                <a:lnTo>
                  <a:pt x="446642" y="538512"/>
                </a:lnTo>
                <a:close/>
                <a:moveTo>
                  <a:pt x="602428" y="578655"/>
                </a:moveTo>
                <a:lnTo>
                  <a:pt x="588971" y="592124"/>
                </a:lnTo>
                <a:lnTo>
                  <a:pt x="511886" y="515107"/>
                </a:lnTo>
                <a:lnTo>
                  <a:pt x="525343" y="501638"/>
                </a:lnTo>
                <a:close/>
                <a:moveTo>
                  <a:pt x="556408" y="300578"/>
                </a:moveTo>
                <a:cubicBezTo>
                  <a:pt x="556150" y="299021"/>
                  <a:pt x="555187" y="297671"/>
                  <a:pt x="553799" y="296917"/>
                </a:cubicBezTo>
                <a:lnTo>
                  <a:pt x="144965" y="57399"/>
                </a:lnTo>
                <a:lnTo>
                  <a:pt x="59745" y="144554"/>
                </a:lnTo>
                <a:lnTo>
                  <a:pt x="306994" y="548084"/>
                </a:lnTo>
                <a:cubicBezTo>
                  <a:pt x="308462" y="549676"/>
                  <a:pt x="310506" y="550614"/>
                  <a:pt x="312670" y="550686"/>
                </a:cubicBezTo>
                <a:cubicBezTo>
                  <a:pt x="314323" y="550801"/>
                  <a:pt x="315942" y="550172"/>
                  <a:pt x="317086" y="548973"/>
                </a:cubicBezTo>
                <a:lnTo>
                  <a:pt x="555119" y="305400"/>
                </a:lnTo>
                <a:cubicBezTo>
                  <a:pt x="556231" y="304057"/>
                  <a:pt x="556701" y="302296"/>
                  <a:pt x="556408" y="300578"/>
                </a:cubicBezTo>
                <a:close/>
                <a:moveTo>
                  <a:pt x="575165" y="297475"/>
                </a:moveTo>
                <a:cubicBezTo>
                  <a:pt x="576408" y="305030"/>
                  <a:pt x="574138" y="312740"/>
                  <a:pt x="568997" y="318416"/>
                </a:cubicBezTo>
                <a:lnTo>
                  <a:pt x="330910" y="561935"/>
                </a:lnTo>
                <a:cubicBezTo>
                  <a:pt x="326043" y="567158"/>
                  <a:pt x="319134" y="569990"/>
                  <a:pt x="312000" y="569679"/>
                </a:cubicBezTo>
                <a:cubicBezTo>
                  <a:pt x="304073" y="569406"/>
                  <a:pt x="296661" y="565686"/>
                  <a:pt x="291704" y="559493"/>
                </a:cubicBezTo>
                <a:lnTo>
                  <a:pt x="291058" y="558566"/>
                </a:lnTo>
                <a:lnTo>
                  <a:pt x="192302" y="397391"/>
                </a:lnTo>
                <a:lnTo>
                  <a:pt x="192385" y="398357"/>
                </a:lnTo>
                <a:lnTo>
                  <a:pt x="127751" y="403619"/>
                </a:lnTo>
                <a:lnTo>
                  <a:pt x="55656" y="284084"/>
                </a:lnTo>
                <a:lnTo>
                  <a:pt x="89478" y="230244"/>
                </a:lnTo>
                <a:lnTo>
                  <a:pt x="90160" y="230666"/>
                </a:lnTo>
                <a:lnTo>
                  <a:pt x="39719" y="148348"/>
                </a:lnTo>
                <a:lnTo>
                  <a:pt x="0" y="87092"/>
                </a:lnTo>
                <a:lnTo>
                  <a:pt x="85138" y="0"/>
                </a:lnTo>
                <a:lnTo>
                  <a:pt x="147843" y="37036"/>
                </a:lnTo>
                <a:lnTo>
                  <a:pt x="563283" y="280359"/>
                </a:lnTo>
                <a:cubicBezTo>
                  <a:pt x="569644" y="283956"/>
                  <a:pt x="574019" y="290258"/>
                  <a:pt x="575165" y="297475"/>
                </a:cubicBezTo>
                <a:close/>
                <a:moveTo>
                  <a:pt x="656384" y="436304"/>
                </a:moveTo>
                <a:lnTo>
                  <a:pt x="656384" y="455357"/>
                </a:lnTo>
                <a:lnTo>
                  <a:pt x="547403" y="455357"/>
                </a:lnTo>
                <a:lnTo>
                  <a:pt x="547403" y="436304"/>
                </a:lnTo>
                <a:close/>
              </a:path>
            </a:pathLst>
          </a:custGeom>
          <a:solidFill>
            <a:schemeClr val="bg1"/>
          </a:solidFill>
          <a:ln w="9526" cap="flat">
            <a:noFill/>
            <a:prstDash val="solid"/>
            <a:miter/>
          </a:ln>
        </p:spPr>
        <p:txBody>
          <a:bodyPr rtlCol="0" anchor="ctr"/>
          <a:lstStyle/>
          <a:p>
            <a:r>
              <a:rPr lang="en-GB"/>
              <a:t>                 </a:t>
            </a:r>
          </a:p>
        </p:txBody>
      </p:sp>
      <p:pic>
        <p:nvPicPr>
          <p:cNvPr id="1026" name="Picture 2" descr="Backlog - Free ui icons">
            <a:extLst>
              <a:ext uri="{FF2B5EF4-FFF2-40B4-BE49-F238E27FC236}">
                <a16:creationId xmlns:a16="http://schemas.microsoft.com/office/drawing/2014/main" id="{81048B38-E273-66E2-9755-DAEA48B490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2159" y="253068"/>
            <a:ext cx="307431" cy="307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4" descr="Support Special Lineal icon">
            <a:extLst>
              <a:ext uri="{FF2B5EF4-FFF2-40B4-BE49-F238E27FC236}">
                <a16:creationId xmlns:a16="http://schemas.microsoft.com/office/drawing/2014/main" id="{B7A43D3B-100E-0214-09C5-8D54F60009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8094" y="1106014"/>
            <a:ext cx="351496" cy="351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ijdelijke aanduiding voor dianummer 1">
            <a:extLst>
              <a:ext uri="{FF2B5EF4-FFF2-40B4-BE49-F238E27FC236}">
                <a16:creationId xmlns:a16="http://schemas.microsoft.com/office/drawing/2014/main" id="{B77728F8-DF9E-0F02-42E4-7744C779F7CC}"/>
              </a:ext>
            </a:extLst>
          </p:cNvPr>
          <p:cNvSpPr txBox="1">
            <a:spLocks/>
          </p:cNvSpPr>
          <p:nvPr/>
        </p:nvSpPr>
        <p:spPr>
          <a:xfrm>
            <a:off x="11088688" y="6119725"/>
            <a:ext cx="431800" cy="360362"/>
          </a:xfrm>
          <a:prstGeom prst="rect">
            <a:avLst/>
          </a:prstGeom>
        </p:spPr>
        <p:txBody>
          <a:bodyPr vert="horz" wrap="square" lIns="0" tIns="0" rIns="72000" bIns="0" rtlCol="0" anchor="ctr">
            <a:noAutofit/>
          </a:bodyPr>
          <a:lstStyle>
            <a:defPPr>
              <a:defRPr lang="nl-NL"/>
            </a:defPPr>
            <a:lvl1pPr marL="0" algn="r" defTabSz="863959" rtl="0" eaLnBrk="1" latinLnBrk="0" hangingPunct="1">
              <a:defRPr lang="nl-NL" sz="1200" kern="1200">
                <a:solidFill>
                  <a:schemeClr val="bg2">
                    <a:lumMod val="75000"/>
                  </a:schemeClr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431979" algn="l" defTabSz="863959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3959" algn="l" defTabSz="863959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5938" algn="l" defTabSz="863959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7917" algn="l" defTabSz="863959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9896" algn="l" defTabSz="863959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1875" algn="l" defTabSz="863959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3854" algn="l" defTabSz="863959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5833" algn="l" defTabSz="863959" rtl="0" eaLnBrk="1" latinLnBrk="0" hangingPunct="1"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2882D01A-ED25-4F30-894A-E32B487BCBA5}" type="slidenum">
              <a:rPr lang="nl-NL" smtClean="0">
                <a:solidFill>
                  <a:srgbClr val="F4F6F8">
                    <a:lumMod val="75000"/>
                  </a:srgbClr>
                </a:solidFill>
              </a:rPr>
              <a:pPr>
                <a:defRPr/>
              </a:pPr>
              <a:t>47</a:t>
            </a:fld>
            <a:endParaRPr lang="nl-NL">
              <a:solidFill>
                <a:srgbClr val="F4F6F8">
                  <a:lumMod val="75000"/>
                </a:srgbClr>
              </a:solidFill>
            </a:endParaRPr>
          </a:p>
        </p:txBody>
      </p:sp>
      <p:sp>
        <p:nvSpPr>
          <p:cNvPr id="36" name="Rechthoek 35">
            <a:extLst>
              <a:ext uri="{FF2B5EF4-FFF2-40B4-BE49-F238E27FC236}">
                <a16:creationId xmlns:a16="http://schemas.microsoft.com/office/drawing/2014/main" id="{CE361D49-8747-D13B-C668-91E16D710EE7}"/>
              </a:ext>
            </a:extLst>
          </p:cNvPr>
          <p:cNvSpPr/>
          <p:nvPr/>
        </p:nvSpPr>
        <p:spPr>
          <a:xfrm>
            <a:off x="244" y="5804413"/>
            <a:ext cx="11520488" cy="67558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err="1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91804475-046D-3763-62B2-EE024C77B117}"/>
              </a:ext>
            </a:extLst>
          </p:cNvPr>
          <p:cNvSpPr txBox="1">
            <a:spLocks/>
          </p:cNvSpPr>
          <p:nvPr/>
        </p:nvSpPr>
        <p:spPr>
          <a:xfrm>
            <a:off x="125479" y="5917710"/>
            <a:ext cx="10296239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BeYOND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0" name="Afbeelding 29">
            <a:extLst>
              <a:ext uri="{FF2B5EF4-FFF2-40B4-BE49-F238E27FC236}">
                <a16:creationId xmlns:a16="http://schemas.microsoft.com/office/drawing/2014/main" id="{66A0992A-CCD7-4C49-00D5-09D1699F53BC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31" name="Picture 2" descr="Nationale Coalitie Duurzame Digitalisering">
            <a:extLst>
              <a:ext uri="{FF2B5EF4-FFF2-40B4-BE49-F238E27FC236}">
                <a16:creationId xmlns:a16="http://schemas.microsoft.com/office/drawing/2014/main" id="{5A583582-8CC7-3B95-4438-7AEC99C3CD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3973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1" name="Tekstvak 1060">
            <a:extLst>
              <a:ext uri="{FF2B5EF4-FFF2-40B4-BE49-F238E27FC236}">
                <a16:creationId xmlns:a16="http://schemas.microsoft.com/office/drawing/2014/main" id="{CD6374CD-E757-256D-76A6-8D20D7E6514E}"/>
              </a:ext>
            </a:extLst>
          </p:cNvPr>
          <p:cNvSpPr txBox="1"/>
          <p:nvPr/>
        </p:nvSpPr>
        <p:spPr>
          <a:xfrm>
            <a:off x="2942317" y="3024090"/>
            <a:ext cx="58006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64017">
              <a:defRPr/>
            </a:pPr>
            <a:r>
              <a:rPr lang="en-US" sz="1800" b="1" kern="0" noProof="1">
                <a:solidFill>
                  <a:srgbClr val="00BCE2"/>
                </a:solidFill>
                <a:latin typeface="Montserrat" panose="00000500000000000000" pitchFamily="2" charset="0"/>
              </a:rPr>
              <a:t> </a:t>
            </a:r>
            <a:endParaRPr lang="en-GB" sz="1800">
              <a:solidFill>
                <a:srgbClr val="555C6B"/>
              </a:solidFill>
              <a:latin typeface="Calibri"/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533073BA-6013-1AF3-7218-93A97C22B9DF}"/>
              </a:ext>
            </a:extLst>
          </p:cNvPr>
          <p:cNvSpPr/>
          <p:nvPr/>
        </p:nvSpPr>
        <p:spPr>
          <a:xfrm>
            <a:off x="-16932" y="-8028"/>
            <a:ext cx="11537333" cy="1755501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9" tIns="35999" rIns="35999" bIns="359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  <a:defRPr/>
            </a:pPr>
            <a:endParaRPr lang="en-GB" sz="900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TextBox 80">
            <a:extLst>
              <a:ext uri="{FF2B5EF4-FFF2-40B4-BE49-F238E27FC236}">
                <a16:creationId xmlns:a16="http://schemas.microsoft.com/office/drawing/2014/main" id="{5B9DE031-84A6-3CC0-2698-6A46242FEF46}"/>
              </a:ext>
            </a:extLst>
          </p:cNvPr>
          <p:cNvSpPr txBox="1"/>
          <p:nvPr/>
        </p:nvSpPr>
        <p:spPr>
          <a:xfrm>
            <a:off x="250907" y="226999"/>
            <a:ext cx="7487273" cy="1065676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 defTabSz="914343">
              <a:defRPr/>
            </a:pPr>
            <a:r>
              <a:rPr lang="en-US" sz="16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ESG actieplan &amp; continu verbeteren</a:t>
            </a:r>
            <a:br>
              <a:rPr lang="en-US" sz="1800" b="1" kern="0" noProof="1">
                <a:solidFill>
                  <a:srgbClr val="F3FBF7"/>
                </a:solidFill>
                <a:latin typeface="Montserrat" panose="00000500000000000000" pitchFamily="2" charset="0"/>
              </a:rPr>
            </a:br>
            <a:r>
              <a:rPr lang="en-US" sz="3402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6. DEEL</a:t>
            </a:r>
          </a:p>
          <a:p>
            <a:pPr defTabSz="914343">
              <a:defRPr/>
            </a:pPr>
            <a:r>
              <a:rPr lang="en-US" sz="1323" kern="0" noProof="1">
                <a:solidFill>
                  <a:srgbClr val="F3FBF7"/>
                </a:solidFill>
                <a:latin typeface="Montserrat" panose="00000500000000000000" pitchFamily="2" charset="0"/>
              </a:rPr>
              <a:t>best practices en lessons learned proactief met interne en externe stakeholders.</a:t>
            </a:r>
            <a:endParaRPr lang="nl-NL" sz="1323" kern="0" noProof="1">
              <a:solidFill>
                <a:srgbClr val="F3FBF7"/>
              </a:solidFill>
              <a:latin typeface="Montserrat" panose="00000500000000000000" pitchFamily="2" charset="0"/>
            </a:endParaRP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F74BA8E4-D9EB-1204-A12D-B846798456B8}"/>
              </a:ext>
            </a:extLst>
          </p:cNvPr>
          <p:cNvSpPr txBox="1"/>
          <p:nvPr/>
        </p:nvSpPr>
        <p:spPr>
          <a:xfrm>
            <a:off x="8652548" y="320475"/>
            <a:ext cx="2488638" cy="412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64017">
              <a:buClr>
                <a:srgbClr val="236B47"/>
              </a:buClr>
            </a:pPr>
            <a:r>
              <a:rPr lang="nl-NL" sz="1039" kern="0" noProof="1">
                <a:solidFill>
                  <a:srgbClr val="F3FBF7"/>
                </a:solidFill>
                <a:latin typeface="Montserrat" panose="00000500000000000000" pitchFamily="2" charset="0"/>
              </a:rPr>
              <a:t>Kennisuitwisseling binnen en buiten de keten</a:t>
            </a:r>
          </a:p>
        </p:txBody>
      </p:sp>
      <p:sp>
        <p:nvSpPr>
          <p:cNvPr id="8" name="Rechthoek 7">
            <a:extLst>
              <a:ext uri="{FF2B5EF4-FFF2-40B4-BE49-F238E27FC236}">
                <a16:creationId xmlns:a16="http://schemas.microsoft.com/office/drawing/2014/main" id="{AF288EB7-0390-521F-0A61-158C48ABCB98}"/>
              </a:ext>
            </a:extLst>
          </p:cNvPr>
          <p:cNvSpPr/>
          <p:nvPr/>
        </p:nvSpPr>
        <p:spPr>
          <a:xfrm>
            <a:off x="7843824" y="156495"/>
            <a:ext cx="3460678" cy="1426454"/>
          </a:xfrm>
          <a:prstGeom prst="rect">
            <a:avLst/>
          </a:prstGeom>
          <a:noFill/>
          <a:ln w="38100" cap="rnd">
            <a:solidFill>
              <a:srgbClr val="3FBE80"/>
            </a:solidFill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</a:pPr>
            <a:endParaRPr lang="en-GB" sz="85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" name="Icoon_3_6" descr="Chatten silhouet">
            <a:extLst>
              <a:ext uri="{FF2B5EF4-FFF2-40B4-BE49-F238E27FC236}">
                <a16:creationId xmlns:a16="http://schemas.microsoft.com/office/drawing/2014/main" id="{EB31B713-B6CD-8342-6276-4E78D6184CE1}"/>
              </a:ext>
            </a:extLst>
          </p:cNvPr>
          <p:cNvSpPr/>
          <p:nvPr/>
        </p:nvSpPr>
        <p:spPr>
          <a:xfrm>
            <a:off x="8142578" y="336778"/>
            <a:ext cx="509970" cy="366500"/>
          </a:xfrm>
          <a:custGeom>
            <a:avLst/>
            <a:gdLst>
              <a:gd name="connsiteX0" fmla="*/ 558295 w 587679"/>
              <a:gd name="connsiteY0" fmla="*/ 80806 h 411434"/>
              <a:gd name="connsiteX1" fmla="*/ 367299 w 587679"/>
              <a:gd name="connsiteY1" fmla="*/ 80806 h 411434"/>
              <a:gd name="connsiteX2" fmla="*/ 367299 w 587679"/>
              <a:gd name="connsiteY2" fmla="*/ 29384 h 411434"/>
              <a:gd name="connsiteX3" fmla="*/ 337916 w 587679"/>
              <a:gd name="connsiteY3" fmla="*/ 0 h 411434"/>
              <a:gd name="connsiteX4" fmla="*/ 29384 w 587679"/>
              <a:gd name="connsiteY4" fmla="*/ 0 h 411434"/>
              <a:gd name="connsiteX5" fmla="*/ 0 w 587679"/>
              <a:gd name="connsiteY5" fmla="*/ 29384 h 411434"/>
              <a:gd name="connsiteX6" fmla="*/ 0 w 587679"/>
              <a:gd name="connsiteY6" fmla="*/ 227784 h 411434"/>
              <a:gd name="connsiteX7" fmla="*/ 29384 w 587679"/>
              <a:gd name="connsiteY7" fmla="*/ 257168 h 411434"/>
              <a:gd name="connsiteX8" fmla="*/ 73460 w 587679"/>
              <a:gd name="connsiteY8" fmla="*/ 257168 h 411434"/>
              <a:gd name="connsiteX9" fmla="*/ 73460 w 587679"/>
              <a:gd name="connsiteY9" fmla="*/ 330628 h 411434"/>
              <a:gd name="connsiteX10" fmla="*/ 146920 w 587679"/>
              <a:gd name="connsiteY10" fmla="*/ 257168 h 411434"/>
              <a:gd name="connsiteX11" fmla="*/ 220380 w 587679"/>
              <a:gd name="connsiteY11" fmla="*/ 257168 h 411434"/>
              <a:gd name="connsiteX12" fmla="*/ 220380 w 587679"/>
              <a:gd name="connsiteY12" fmla="*/ 308590 h 411434"/>
              <a:gd name="connsiteX13" fmla="*/ 249764 w 587679"/>
              <a:gd name="connsiteY13" fmla="*/ 337974 h 411434"/>
              <a:gd name="connsiteX14" fmla="*/ 440759 w 587679"/>
              <a:gd name="connsiteY14" fmla="*/ 337974 h 411434"/>
              <a:gd name="connsiteX15" fmla="*/ 514219 w 587679"/>
              <a:gd name="connsiteY15" fmla="*/ 411434 h 411434"/>
              <a:gd name="connsiteX16" fmla="*/ 514219 w 587679"/>
              <a:gd name="connsiteY16" fmla="*/ 337974 h 411434"/>
              <a:gd name="connsiteX17" fmla="*/ 558295 w 587679"/>
              <a:gd name="connsiteY17" fmla="*/ 337974 h 411434"/>
              <a:gd name="connsiteX18" fmla="*/ 587679 w 587679"/>
              <a:gd name="connsiteY18" fmla="*/ 308590 h 411434"/>
              <a:gd name="connsiteX19" fmla="*/ 587679 w 587679"/>
              <a:gd name="connsiteY19" fmla="*/ 110197 h 411434"/>
              <a:gd name="connsiteX20" fmla="*/ 558295 w 587679"/>
              <a:gd name="connsiteY20" fmla="*/ 80806 h 411434"/>
              <a:gd name="connsiteX21" fmla="*/ 220380 w 587679"/>
              <a:gd name="connsiteY21" fmla="*/ 110190 h 411434"/>
              <a:gd name="connsiteX22" fmla="*/ 220380 w 587679"/>
              <a:gd name="connsiteY22" fmla="*/ 242484 h 411434"/>
              <a:gd name="connsiteX23" fmla="*/ 140852 w 587679"/>
              <a:gd name="connsiteY23" fmla="*/ 242484 h 411434"/>
              <a:gd name="connsiteX24" fmla="*/ 136547 w 587679"/>
              <a:gd name="connsiteY24" fmla="*/ 246789 h 411434"/>
              <a:gd name="connsiteX25" fmla="*/ 88152 w 587679"/>
              <a:gd name="connsiteY25" fmla="*/ 295184 h 411434"/>
              <a:gd name="connsiteX26" fmla="*/ 88152 w 587679"/>
              <a:gd name="connsiteY26" fmla="*/ 242484 h 411434"/>
              <a:gd name="connsiteX27" fmla="*/ 29384 w 587679"/>
              <a:gd name="connsiteY27" fmla="*/ 242484 h 411434"/>
              <a:gd name="connsiteX28" fmla="*/ 14692 w 587679"/>
              <a:gd name="connsiteY28" fmla="*/ 227792 h 411434"/>
              <a:gd name="connsiteX29" fmla="*/ 14692 w 587679"/>
              <a:gd name="connsiteY29" fmla="*/ 29391 h 411434"/>
              <a:gd name="connsiteX30" fmla="*/ 29384 w 587679"/>
              <a:gd name="connsiteY30" fmla="*/ 14699 h 411434"/>
              <a:gd name="connsiteX31" fmla="*/ 337916 w 587679"/>
              <a:gd name="connsiteY31" fmla="*/ 14699 h 411434"/>
              <a:gd name="connsiteX32" fmla="*/ 352608 w 587679"/>
              <a:gd name="connsiteY32" fmla="*/ 29391 h 411434"/>
              <a:gd name="connsiteX33" fmla="*/ 352608 w 587679"/>
              <a:gd name="connsiteY33" fmla="*/ 80813 h 411434"/>
              <a:gd name="connsiteX34" fmla="*/ 249764 w 587679"/>
              <a:gd name="connsiteY34" fmla="*/ 80813 h 411434"/>
              <a:gd name="connsiteX35" fmla="*/ 220380 w 587679"/>
              <a:gd name="connsiteY35" fmla="*/ 110197 h 411434"/>
              <a:gd name="connsiteX36" fmla="*/ 572987 w 587679"/>
              <a:gd name="connsiteY36" fmla="*/ 308590 h 411434"/>
              <a:gd name="connsiteX37" fmla="*/ 558295 w 587679"/>
              <a:gd name="connsiteY37" fmla="*/ 323282 h 411434"/>
              <a:gd name="connsiteX38" fmla="*/ 499527 w 587679"/>
              <a:gd name="connsiteY38" fmla="*/ 323282 h 411434"/>
              <a:gd name="connsiteX39" fmla="*/ 499527 w 587679"/>
              <a:gd name="connsiteY39" fmla="*/ 375982 h 411434"/>
              <a:gd name="connsiteX40" fmla="*/ 451176 w 587679"/>
              <a:gd name="connsiteY40" fmla="*/ 327565 h 411434"/>
              <a:gd name="connsiteX41" fmla="*/ 446871 w 587679"/>
              <a:gd name="connsiteY41" fmla="*/ 323260 h 411434"/>
              <a:gd name="connsiteX42" fmla="*/ 249764 w 587679"/>
              <a:gd name="connsiteY42" fmla="*/ 323260 h 411434"/>
              <a:gd name="connsiteX43" fmla="*/ 235072 w 587679"/>
              <a:gd name="connsiteY43" fmla="*/ 308568 h 411434"/>
              <a:gd name="connsiteX44" fmla="*/ 235072 w 587679"/>
              <a:gd name="connsiteY44" fmla="*/ 110197 h 411434"/>
              <a:gd name="connsiteX45" fmla="*/ 249764 w 587679"/>
              <a:gd name="connsiteY45" fmla="*/ 95505 h 411434"/>
              <a:gd name="connsiteX46" fmla="*/ 558295 w 587679"/>
              <a:gd name="connsiteY46" fmla="*/ 95505 h 411434"/>
              <a:gd name="connsiteX47" fmla="*/ 572987 w 587679"/>
              <a:gd name="connsiteY47" fmla="*/ 110197 h 411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87679" h="411434">
                <a:moveTo>
                  <a:pt x="558295" y="80806"/>
                </a:moveTo>
                <a:lnTo>
                  <a:pt x="367299" y="80806"/>
                </a:lnTo>
                <a:lnTo>
                  <a:pt x="367299" y="29384"/>
                </a:lnTo>
                <a:cubicBezTo>
                  <a:pt x="367251" y="13176"/>
                  <a:pt x="354124" y="48"/>
                  <a:pt x="337916" y="0"/>
                </a:cubicBezTo>
                <a:lnTo>
                  <a:pt x="29384" y="0"/>
                </a:lnTo>
                <a:cubicBezTo>
                  <a:pt x="13176" y="48"/>
                  <a:pt x="48" y="13176"/>
                  <a:pt x="0" y="29384"/>
                </a:cubicBezTo>
                <a:lnTo>
                  <a:pt x="0" y="227784"/>
                </a:lnTo>
                <a:cubicBezTo>
                  <a:pt x="48" y="243993"/>
                  <a:pt x="13176" y="257120"/>
                  <a:pt x="29384" y="257168"/>
                </a:cubicBezTo>
                <a:lnTo>
                  <a:pt x="73460" y="257168"/>
                </a:lnTo>
                <a:lnTo>
                  <a:pt x="73460" y="330628"/>
                </a:lnTo>
                <a:lnTo>
                  <a:pt x="146920" y="257168"/>
                </a:lnTo>
                <a:lnTo>
                  <a:pt x="220380" y="257168"/>
                </a:lnTo>
                <a:lnTo>
                  <a:pt x="220380" y="308590"/>
                </a:lnTo>
                <a:cubicBezTo>
                  <a:pt x="220428" y="324799"/>
                  <a:pt x="233555" y="337926"/>
                  <a:pt x="249764" y="337974"/>
                </a:cubicBezTo>
                <a:lnTo>
                  <a:pt x="440759" y="337974"/>
                </a:lnTo>
                <a:lnTo>
                  <a:pt x="514219" y="411434"/>
                </a:lnTo>
                <a:lnTo>
                  <a:pt x="514219" y="337974"/>
                </a:lnTo>
                <a:lnTo>
                  <a:pt x="558295" y="337974"/>
                </a:lnTo>
                <a:cubicBezTo>
                  <a:pt x="574503" y="337926"/>
                  <a:pt x="587631" y="324799"/>
                  <a:pt x="587679" y="308590"/>
                </a:cubicBezTo>
                <a:lnTo>
                  <a:pt x="587679" y="110197"/>
                </a:lnTo>
                <a:cubicBezTo>
                  <a:pt x="587635" y="93986"/>
                  <a:pt x="574506" y="80854"/>
                  <a:pt x="558295" y="80806"/>
                </a:cubicBezTo>
                <a:close/>
                <a:moveTo>
                  <a:pt x="220380" y="110190"/>
                </a:moveTo>
                <a:lnTo>
                  <a:pt x="220380" y="242484"/>
                </a:lnTo>
                <a:lnTo>
                  <a:pt x="140852" y="242484"/>
                </a:lnTo>
                <a:lnTo>
                  <a:pt x="136547" y="246789"/>
                </a:lnTo>
                <a:lnTo>
                  <a:pt x="88152" y="295184"/>
                </a:lnTo>
                <a:lnTo>
                  <a:pt x="88152" y="242484"/>
                </a:lnTo>
                <a:lnTo>
                  <a:pt x="29384" y="242484"/>
                </a:lnTo>
                <a:cubicBezTo>
                  <a:pt x="21270" y="242484"/>
                  <a:pt x="14692" y="235906"/>
                  <a:pt x="14692" y="227792"/>
                </a:cubicBezTo>
                <a:lnTo>
                  <a:pt x="14692" y="29391"/>
                </a:lnTo>
                <a:cubicBezTo>
                  <a:pt x="14692" y="21277"/>
                  <a:pt x="21270" y="14699"/>
                  <a:pt x="29384" y="14699"/>
                </a:cubicBezTo>
                <a:lnTo>
                  <a:pt x="337916" y="14699"/>
                </a:lnTo>
                <a:cubicBezTo>
                  <a:pt x="346030" y="14699"/>
                  <a:pt x="352608" y="21277"/>
                  <a:pt x="352608" y="29391"/>
                </a:cubicBezTo>
                <a:lnTo>
                  <a:pt x="352608" y="80813"/>
                </a:lnTo>
                <a:lnTo>
                  <a:pt x="249764" y="80813"/>
                </a:lnTo>
                <a:cubicBezTo>
                  <a:pt x="233555" y="80862"/>
                  <a:pt x="220428" y="93989"/>
                  <a:pt x="220380" y="110197"/>
                </a:cubicBezTo>
                <a:close/>
                <a:moveTo>
                  <a:pt x="572987" y="308590"/>
                </a:moveTo>
                <a:cubicBezTo>
                  <a:pt x="572987" y="316705"/>
                  <a:pt x="566410" y="323282"/>
                  <a:pt x="558295" y="323282"/>
                </a:cubicBezTo>
                <a:lnTo>
                  <a:pt x="499527" y="323282"/>
                </a:lnTo>
                <a:lnTo>
                  <a:pt x="499527" y="375982"/>
                </a:lnTo>
                <a:lnTo>
                  <a:pt x="451176" y="327565"/>
                </a:lnTo>
                <a:lnTo>
                  <a:pt x="446871" y="323260"/>
                </a:lnTo>
                <a:lnTo>
                  <a:pt x="249764" y="323260"/>
                </a:lnTo>
                <a:cubicBezTo>
                  <a:pt x="241649" y="323260"/>
                  <a:pt x="235072" y="316683"/>
                  <a:pt x="235072" y="308568"/>
                </a:cubicBezTo>
                <a:lnTo>
                  <a:pt x="235072" y="110197"/>
                </a:lnTo>
                <a:cubicBezTo>
                  <a:pt x="235072" y="102083"/>
                  <a:pt x="241649" y="95505"/>
                  <a:pt x="249764" y="95505"/>
                </a:cubicBezTo>
                <a:lnTo>
                  <a:pt x="558295" y="95505"/>
                </a:lnTo>
                <a:cubicBezTo>
                  <a:pt x="566410" y="95505"/>
                  <a:pt x="572987" y="102083"/>
                  <a:pt x="572987" y="110197"/>
                </a:cubicBezTo>
                <a:close/>
              </a:path>
            </a:pathLst>
          </a:custGeom>
          <a:solidFill>
            <a:schemeClr val="bg1"/>
          </a:solidFill>
          <a:ln w="734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" name="Icoon_3_1">
            <a:extLst>
              <a:ext uri="{FF2B5EF4-FFF2-40B4-BE49-F238E27FC236}">
                <a16:creationId xmlns:a16="http://schemas.microsoft.com/office/drawing/2014/main" id="{8B04E0E9-E0FB-44B3-4511-70482E6F999A}"/>
              </a:ext>
            </a:extLst>
          </p:cNvPr>
          <p:cNvSpPr/>
          <p:nvPr/>
        </p:nvSpPr>
        <p:spPr>
          <a:xfrm>
            <a:off x="8178119" y="846043"/>
            <a:ext cx="446436" cy="446632"/>
          </a:xfrm>
          <a:custGeom>
            <a:avLst/>
            <a:gdLst>
              <a:gd name="connsiteX0" fmla="*/ 375117 w 425897"/>
              <a:gd name="connsiteY0" fmla="*/ 29036 h 426085"/>
              <a:gd name="connsiteX1" fmla="*/ 412713 w 425897"/>
              <a:gd name="connsiteY1" fmla="*/ 94171 h 426085"/>
              <a:gd name="connsiteX2" fmla="*/ 401860 w 425897"/>
              <a:gd name="connsiteY2" fmla="*/ 100437 h 426085"/>
              <a:gd name="connsiteX3" fmla="*/ 375406 w 425897"/>
              <a:gd name="connsiteY3" fmla="*/ 54570 h 426085"/>
              <a:gd name="connsiteX4" fmla="*/ 375293 w 425897"/>
              <a:gd name="connsiteY4" fmla="*/ 54570 h 426085"/>
              <a:gd name="connsiteX5" fmla="*/ 372611 w 425897"/>
              <a:gd name="connsiteY5" fmla="*/ 65667 h 426085"/>
              <a:gd name="connsiteX6" fmla="*/ 71926 w 425897"/>
              <a:gd name="connsiteY6" fmla="*/ 354202 h 426085"/>
              <a:gd name="connsiteX7" fmla="*/ 68925 w 425897"/>
              <a:gd name="connsiteY7" fmla="*/ 354202 h 426085"/>
              <a:gd name="connsiteX8" fmla="*/ 68925 w 425897"/>
              <a:gd name="connsiteY8" fmla="*/ 341670 h 426085"/>
              <a:gd name="connsiteX9" fmla="*/ 71926 w 425897"/>
              <a:gd name="connsiteY9" fmla="*/ 341670 h 426085"/>
              <a:gd name="connsiteX10" fmla="*/ 361545 w 425897"/>
              <a:gd name="connsiteY10" fmla="*/ 58192 h 426085"/>
              <a:gd name="connsiteX11" fmla="*/ 363419 w 425897"/>
              <a:gd name="connsiteY11" fmla="*/ 50390 h 426085"/>
              <a:gd name="connsiteX12" fmla="*/ 363411 w 425897"/>
              <a:gd name="connsiteY12" fmla="*/ 50350 h 426085"/>
              <a:gd name="connsiteX13" fmla="*/ 363325 w 425897"/>
              <a:gd name="connsiteY13" fmla="*/ 50328 h 426085"/>
              <a:gd name="connsiteX14" fmla="*/ 316430 w 425897"/>
              <a:gd name="connsiteY14" fmla="*/ 77378 h 426085"/>
              <a:gd name="connsiteX15" fmla="*/ 310164 w 425897"/>
              <a:gd name="connsiteY15" fmla="*/ 66525 h 426085"/>
              <a:gd name="connsiteX16" fmla="*/ 0 w 425897"/>
              <a:gd name="connsiteY16" fmla="*/ 0 h 426085"/>
              <a:gd name="connsiteX17" fmla="*/ 12532 w 425897"/>
              <a:gd name="connsiteY17" fmla="*/ 0 h 426085"/>
              <a:gd name="connsiteX18" fmla="*/ 12532 w 425897"/>
              <a:gd name="connsiteY18" fmla="*/ 413553 h 426085"/>
              <a:gd name="connsiteX19" fmla="*/ 425897 w 425897"/>
              <a:gd name="connsiteY19" fmla="*/ 413553 h 426085"/>
              <a:gd name="connsiteX20" fmla="*/ 425897 w 425897"/>
              <a:gd name="connsiteY20" fmla="*/ 426085 h 426085"/>
              <a:gd name="connsiteX21" fmla="*/ 0 w 425897"/>
              <a:gd name="connsiteY21" fmla="*/ 426085 h 4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25897" h="426085">
                <a:moveTo>
                  <a:pt x="375117" y="29036"/>
                </a:moveTo>
                <a:lnTo>
                  <a:pt x="412713" y="94171"/>
                </a:lnTo>
                <a:lnTo>
                  <a:pt x="401860" y="100437"/>
                </a:lnTo>
                <a:lnTo>
                  <a:pt x="375406" y="54570"/>
                </a:lnTo>
                <a:cubicBezTo>
                  <a:pt x="375374" y="54520"/>
                  <a:pt x="375293" y="54520"/>
                  <a:pt x="375293" y="54570"/>
                </a:cubicBezTo>
                <a:cubicBezTo>
                  <a:pt x="375011" y="55754"/>
                  <a:pt x="372968" y="64269"/>
                  <a:pt x="372611" y="65667"/>
                </a:cubicBezTo>
                <a:cubicBezTo>
                  <a:pt x="299456" y="354202"/>
                  <a:pt x="168027" y="354202"/>
                  <a:pt x="71926" y="354202"/>
                </a:cubicBezTo>
                <a:lnTo>
                  <a:pt x="68925" y="354202"/>
                </a:lnTo>
                <a:lnTo>
                  <a:pt x="68925" y="341670"/>
                </a:lnTo>
                <a:lnTo>
                  <a:pt x="71926" y="341670"/>
                </a:lnTo>
                <a:cubicBezTo>
                  <a:pt x="164393" y="341670"/>
                  <a:pt x="291034" y="341670"/>
                  <a:pt x="361545" y="58192"/>
                </a:cubicBezTo>
                <a:lnTo>
                  <a:pt x="363419" y="50390"/>
                </a:lnTo>
                <a:cubicBezTo>
                  <a:pt x="363421" y="50377"/>
                  <a:pt x="363418" y="50362"/>
                  <a:pt x="363411" y="50350"/>
                </a:cubicBezTo>
                <a:cubicBezTo>
                  <a:pt x="363393" y="50320"/>
                  <a:pt x="363355" y="50310"/>
                  <a:pt x="363325" y="50328"/>
                </a:cubicBezTo>
                <a:lnTo>
                  <a:pt x="316430" y="77378"/>
                </a:lnTo>
                <a:lnTo>
                  <a:pt x="310164" y="66525"/>
                </a:lnTo>
                <a:close/>
                <a:moveTo>
                  <a:pt x="0" y="0"/>
                </a:moveTo>
                <a:lnTo>
                  <a:pt x="12532" y="0"/>
                </a:lnTo>
                <a:lnTo>
                  <a:pt x="12532" y="413553"/>
                </a:lnTo>
                <a:lnTo>
                  <a:pt x="425897" y="413553"/>
                </a:lnTo>
                <a:lnTo>
                  <a:pt x="425897" y="426085"/>
                </a:lnTo>
                <a:lnTo>
                  <a:pt x="0" y="426085"/>
                </a:lnTo>
                <a:close/>
              </a:path>
            </a:pathLst>
          </a:custGeom>
          <a:solidFill>
            <a:schemeClr val="bg1"/>
          </a:solidFill>
          <a:ln w="6251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D6A7977D-3848-51E7-6E57-848FCBB9846C}"/>
              </a:ext>
            </a:extLst>
          </p:cNvPr>
          <p:cNvSpPr txBox="1"/>
          <p:nvPr/>
        </p:nvSpPr>
        <p:spPr>
          <a:xfrm>
            <a:off x="8674767" y="926790"/>
            <a:ext cx="2488638" cy="412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64017">
              <a:buClr>
                <a:srgbClr val="236B47"/>
              </a:buClr>
            </a:pPr>
            <a:r>
              <a:rPr lang="nl-NL" sz="1039" kern="0" noProof="1">
                <a:solidFill>
                  <a:srgbClr val="F3FBF7"/>
                </a:solidFill>
                <a:latin typeface="Montserrat" panose="00000500000000000000" pitchFamily="2" charset="0"/>
              </a:rPr>
              <a:t>Duurzaamheidstransitie versnellen in co-creatie</a:t>
            </a:r>
          </a:p>
        </p:txBody>
      </p:sp>
      <p:sp>
        <p:nvSpPr>
          <p:cNvPr id="11" name="Tijdelijke aanduiding voor dianummer 1">
            <a:extLst>
              <a:ext uri="{FF2B5EF4-FFF2-40B4-BE49-F238E27FC236}">
                <a16:creationId xmlns:a16="http://schemas.microsoft.com/office/drawing/2014/main" id="{954421A4-CFC9-C104-7892-DF0E6EF8D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688" y="6119725"/>
            <a:ext cx="431800" cy="360362"/>
          </a:xfrm>
        </p:spPr>
        <p:txBody>
          <a:bodyPr/>
          <a:lstStyle/>
          <a:p>
            <a:pPr marL="0" marR="0" lvl="0" indent="0" algn="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82D01A-ED25-4F30-894A-E32B487BCBA5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F4F6F8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pPr marL="0" marR="0" lvl="0" indent="0" algn="r" defTabSz="86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F4F6F8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19528F0D-0C62-5EED-B09F-5FFA67521815}"/>
              </a:ext>
            </a:extLst>
          </p:cNvPr>
          <p:cNvSpPr/>
          <p:nvPr/>
        </p:nvSpPr>
        <p:spPr>
          <a:xfrm>
            <a:off x="244" y="5804413"/>
            <a:ext cx="11520488" cy="67558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err="1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7495769-E5F0-5B54-2CB4-A1672DED2AE3}"/>
              </a:ext>
            </a:extLst>
          </p:cNvPr>
          <p:cNvSpPr txBox="1">
            <a:spLocks/>
          </p:cNvSpPr>
          <p:nvPr/>
        </p:nvSpPr>
        <p:spPr>
          <a:xfrm>
            <a:off x="125479" y="5917710"/>
            <a:ext cx="10296239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BeYOND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27885564-0115-5E6E-96BF-47446180804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6" name="Picture 2" descr="Nationale Coalitie Duurzame Digitalisering">
            <a:extLst>
              <a:ext uri="{FF2B5EF4-FFF2-40B4-BE49-F238E27FC236}">
                <a16:creationId xmlns:a16="http://schemas.microsoft.com/office/drawing/2014/main" id="{FC3847FB-FDC7-38E3-D631-B40FE8A065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Nationale Coalitie Duurzame Digitalisering">
            <a:extLst>
              <a:ext uri="{FF2B5EF4-FFF2-40B4-BE49-F238E27FC236}">
                <a16:creationId xmlns:a16="http://schemas.microsoft.com/office/drawing/2014/main" id="{7BC87948-B803-092E-E214-BE077D46B2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5889" y="2822139"/>
            <a:ext cx="4228710" cy="1763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17435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33073BA-6013-1AF3-7218-93A97C22B9DF}"/>
              </a:ext>
            </a:extLst>
          </p:cNvPr>
          <p:cNvSpPr/>
          <p:nvPr/>
        </p:nvSpPr>
        <p:spPr>
          <a:xfrm>
            <a:off x="-2" y="2857"/>
            <a:ext cx="11520487" cy="5812314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9" tIns="35999" rIns="35999" bIns="359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3949">
              <a:buClr>
                <a:srgbClr val="4AC300"/>
              </a:buClr>
            </a:pPr>
            <a:endParaRPr lang="en-GB" sz="280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TextBox 80">
            <a:extLst>
              <a:ext uri="{FF2B5EF4-FFF2-40B4-BE49-F238E27FC236}">
                <a16:creationId xmlns:a16="http://schemas.microsoft.com/office/drawing/2014/main" id="{9D623F99-AE4F-0C07-EDF4-11B598F80891}"/>
              </a:ext>
            </a:extLst>
          </p:cNvPr>
          <p:cNvSpPr txBox="1"/>
          <p:nvPr/>
        </p:nvSpPr>
        <p:spPr>
          <a:xfrm>
            <a:off x="472833" y="311061"/>
            <a:ext cx="4243529" cy="707886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 marR="0" lvl="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40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Sprekers</a:t>
            </a:r>
            <a:endParaRPr lang="nl-NL" sz="1800" kern="0" noProof="1">
              <a:solidFill>
                <a:srgbClr val="F3FBF7"/>
              </a:solidFill>
              <a:latin typeface="Montserrat" panose="00000500000000000000" pitchFamily="2" charset="0"/>
            </a:endParaRP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B7DC6C2E-5713-9307-5F56-6DF891373C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688" y="6119725"/>
            <a:ext cx="431800" cy="360362"/>
          </a:xfrm>
        </p:spPr>
        <p:txBody>
          <a:bodyPr/>
          <a:lstStyle/>
          <a:p>
            <a:pPr marL="0" marR="0" lvl="0" indent="0" algn="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82D01A-ED25-4F30-894A-E32B487BCBA5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F4F6F8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pPr marL="0" marR="0" lvl="0" indent="0" algn="r" defTabSz="86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F4F6F8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7BE9F53E-EDE7-EB9E-B400-19A1514B833F}"/>
              </a:ext>
            </a:extLst>
          </p:cNvPr>
          <p:cNvSpPr/>
          <p:nvPr/>
        </p:nvSpPr>
        <p:spPr>
          <a:xfrm>
            <a:off x="244" y="5804413"/>
            <a:ext cx="11520488" cy="67558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err="1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7CA63EE-9CA2-C02E-CC18-64EC87496BE9}"/>
              </a:ext>
            </a:extLst>
          </p:cNvPr>
          <p:cNvSpPr txBox="1">
            <a:spLocks/>
          </p:cNvSpPr>
          <p:nvPr/>
        </p:nvSpPr>
        <p:spPr>
          <a:xfrm>
            <a:off x="125479" y="5917710"/>
            <a:ext cx="10296239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</a:t>
            </a:r>
            <a:r>
              <a:rPr kumimoji="0" lang="nl-NL" sz="2400" b="1" i="0" u="none" strike="noStrike" kern="1200" cap="all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BeYOND</a:t>
            </a: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A17646D5-B274-4165-E1CD-82147BA7071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9" name="Picture 2" descr="Nationale Coalitie Duurzame Digitalisering">
            <a:extLst>
              <a:ext uri="{FF2B5EF4-FFF2-40B4-BE49-F238E27FC236}">
                <a16:creationId xmlns:a16="http://schemas.microsoft.com/office/drawing/2014/main" id="{A445F8F6-2E90-4B68-86CE-071121FC53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ep 13">
            <a:extLst>
              <a:ext uri="{FF2B5EF4-FFF2-40B4-BE49-F238E27FC236}">
                <a16:creationId xmlns:a16="http://schemas.microsoft.com/office/drawing/2014/main" id="{81E34BAB-625A-B6C5-988B-31889453C205}"/>
              </a:ext>
            </a:extLst>
          </p:cNvPr>
          <p:cNvGrpSpPr/>
          <p:nvPr/>
        </p:nvGrpSpPr>
        <p:grpSpPr>
          <a:xfrm>
            <a:off x="477739" y="1369626"/>
            <a:ext cx="10565010" cy="4113688"/>
            <a:chOff x="395787" y="1369626"/>
            <a:chExt cx="10565010" cy="4113688"/>
          </a:xfrm>
        </p:grpSpPr>
        <p:pic>
          <p:nvPicPr>
            <p:cNvPr id="18" name="Picture 2" descr="profile image">
              <a:extLst>
                <a:ext uri="{FF2B5EF4-FFF2-40B4-BE49-F238E27FC236}">
                  <a16:creationId xmlns:a16="http://schemas.microsoft.com/office/drawing/2014/main" id="{A79829BE-E216-DC94-0D2E-6350016F560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058" t="5125" r="11441" b="21883"/>
            <a:stretch/>
          </p:blipFill>
          <p:spPr bwMode="auto">
            <a:xfrm>
              <a:off x="7860045" y="1384349"/>
              <a:ext cx="2421327" cy="2340864"/>
            </a:xfrm>
            <a:prstGeom prst="ellipse">
              <a:avLst/>
            </a:prstGeom>
            <a:ln w="63500" cap="rnd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Box 80">
              <a:extLst>
                <a:ext uri="{FF2B5EF4-FFF2-40B4-BE49-F238E27FC236}">
                  <a16:creationId xmlns:a16="http://schemas.microsoft.com/office/drawing/2014/main" id="{F39841A1-0617-AE13-B824-4CF6BA1E962B}"/>
                </a:ext>
              </a:extLst>
            </p:cNvPr>
            <p:cNvSpPr txBox="1"/>
            <p:nvPr/>
          </p:nvSpPr>
          <p:spPr>
            <a:xfrm>
              <a:off x="3860783" y="3919265"/>
              <a:ext cx="3470888" cy="400110"/>
            </a:xfrm>
            <a:prstGeom prst="rect">
              <a:avLst/>
            </a:prstGeom>
            <a:noFill/>
          </p:spPr>
          <p:txBody>
            <a:bodyPr wrap="square" lIns="0" tIns="45720" rIns="91440" bIns="45720" rtlCol="0" anchor="t">
              <a:spAutoFit/>
            </a:bodyPr>
            <a:lstStyle/>
            <a:p>
              <a:pPr marR="0" lvl="0" algn="ctr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tabLst/>
                <a:defRPr/>
              </a:pPr>
              <a:r>
                <a:rPr lang="en-US" sz="2000" b="1" kern="0" noProof="1">
                  <a:solidFill>
                    <a:srgbClr val="F3FBF7"/>
                  </a:solidFill>
                  <a:latin typeface="Montserrat"/>
                </a:rPr>
                <a:t>Edwin Lodder</a:t>
              </a:r>
            </a:p>
          </p:txBody>
        </p:sp>
        <p:sp>
          <p:nvSpPr>
            <p:cNvPr id="20" name="TextBox 80">
              <a:extLst>
                <a:ext uri="{FF2B5EF4-FFF2-40B4-BE49-F238E27FC236}">
                  <a16:creationId xmlns:a16="http://schemas.microsoft.com/office/drawing/2014/main" id="{B64302C8-43DC-0DFC-89AA-B7AE673655D0}"/>
                </a:ext>
              </a:extLst>
            </p:cNvPr>
            <p:cNvSpPr txBox="1"/>
            <p:nvPr/>
          </p:nvSpPr>
          <p:spPr>
            <a:xfrm>
              <a:off x="559691" y="3950042"/>
              <a:ext cx="3124112" cy="400110"/>
            </a:xfrm>
            <a:prstGeom prst="rect">
              <a:avLst/>
            </a:prstGeom>
            <a:noFill/>
          </p:spPr>
          <p:txBody>
            <a:bodyPr wrap="square" lIns="0" tIns="45720" rIns="91440" bIns="45720" rtlCol="0" anchor="t">
              <a:spAutoFit/>
            </a:bodyPr>
            <a:lstStyle/>
            <a:p>
              <a:pPr marR="0" lvl="0" algn="ctr" defTabSz="914354" eaLnBrk="1" fontAlgn="auto" latinLnBrk="0" hangingPunct="1">
                <a:lnSpc>
                  <a:spcPct val="100000"/>
                </a:lnSpc>
                <a:spcAft>
                  <a:spcPts val="600"/>
                </a:spcAft>
                <a:buClrTx/>
                <a:buSzTx/>
                <a:tabLst/>
                <a:defRPr/>
              </a:pPr>
              <a:r>
                <a:rPr lang="en-US" sz="2000" b="1" kern="0" noProof="1">
                  <a:solidFill>
                    <a:srgbClr val="F3FBF7"/>
                  </a:solidFill>
                  <a:latin typeface="Montserrat"/>
                </a:rPr>
                <a:t>Raymond van Ek</a:t>
              </a:r>
            </a:p>
          </p:txBody>
        </p:sp>
        <p:sp>
          <p:nvSpPr>
            <p:cNvPr id="21" name="TextBox 80">
              <a:extLst>
                <a:ext uri="{FF2B5EF4-FFF2-40B4-BE49-F238E27FC236}">
                  <a16:creationId xmlns:a16="http://schemas.microsoft.com/office/drawing/2014/main" id="{8DA95468-D991-5E6F-F274-A101D64C5251}"/>
                </a:ext>
              </a:extLst>
            </p:cNvPr>
            <p:cNvSpPr txBox="1"/>
            <p:nvPr/>
          </p:nvSpPr>
          <p:spPr>
            <a:xfrm>
              <a:off x="7180622" y="3923274"/>
              <a:ext cx="3780175" cy="400110"/>
            </a:xfrm>
            <a:prstGeom prst="rect">
              <a:avLst/>
            </a:prstGeom>
            <a:noFill/>
          </p:spPr>
          <p:txBody>
            <a:bodyPr wrap="square" lIns="0" rtlCol="0" anchor="t">
              <a:spAutoFit/>
            </a:bodyPr>
            <a:lstStyle/>
            <a:p>
              <a:pPr marR="0" lvl="0" algn="ctr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tabLst/>
                <a:defRPr/>
              </a:pPr>
              <a:r>
                <a:rPr lang="en-US" sz="2000" b="1" kern="0" noProof="1">
                  <a:solidFill>
                    <a:srgbClr val="F3FBF7"/>
                  </a:solidFill>
                  <a:latin typeface="Montserrat" panose="00000500000000000000" pitchFamily="2" charset="0"/>
                </a:rPr>
                <a:t>Rutger van IJzendoorn</a:t>
              </a:r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7D82BE1E-AA53-DBB6-4CAA-E9D84C79482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1909" y="1380601"/>
              <a:ext cx="2344612" cy="2344612"/>
            </a:xfrm>
            <a:prstGeom prst="ellipse">
              <a:avLst/>
            </a:prstGeom>
            <a:ln w="63500" cap="rnd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233713BF-4974-D669-13DB-FD1B2E68EC8D}"/>
                </a:ext>
              </a:extLst>
            </p:cNvPr>
            <p:cNvSpPr txBox="1"/>
            <p:nvPr/>
          </p:nvSpPr>
          <p:spPr>
            <a:xfrm>
              <a:off x="3937799" y="4375318"/>
              <a:ext cx="3316856" cy="11079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nl-NL" sz="1400" b="1" kern="0" noProof="1">
                  <a:solidFill>
                    <a:srgbClr val="F3FBF7"/>
                  </a:solidFill>
                  <a:latin typeface="Montserrat"/>
                </a:rPr>
                <a:t>Yellowtail Conclusion</a:t>
              </a:r>
            </a:p>
            <a:p>
              <a:pPr algn="ctr">
                <a:spcAft>
                  <a:spcPts val="600"/>
                </a:spcAft>
              </a:pPr>
              <a:r>
                <a:rPr lang="nl-NL" sz="1400" kern="0" noProof="1">
                  <a:solidFill>
                    <a:srgbClr val="F3FBF7"/>
                  </a:solidFill>
                  <a:latin typeface="Montserrat"/>
                </a:rPr>
                <a:t>Managing Director</a:t>
              </a:r>
            </a:p>
            <a:p>
              <a:pPr algn="ctr"/>
              <a:r>
                <a:rPr lang="nl-NL" sz="1400" kern="0" noProof="1">
                  <a:solidFill>
                    <a:srgbClr val="F3FBF7"/>
                  </a:solidFill>
                  <a:latin typeface="Montserrat"/>
                </a:rPr>
                <a:t>Sustainability </a:t>
              </a:r>
            </a:p>
            <a:p>
              <a:pPr algn="ctr"/>
              <a:r>
                <a:rPr lang="nl-NL" sz="1400" kern="0" noProof="1">
                  <a:solidFill>
                    <a:srgbClr val="F3FBF7"/>
                  </a:solidFill>
                  <a:latin typeface="Montserrat"/>
                </a:rPr>
                <a:t>&amp; Key Control Dashbaord</a:t>
              </a:r>
            </a:p>
          </p:txBody>
        </p:sp>
        <p:sp>
          <p:nvSpPr>
            <p:cNvPr id="12" name="Tekstvak 11">
              <a:extLst>
                <a:ext uri="{FF2B5EF4-FFF2-40B4-BE49-F238E27FC236}">
                  <a16:creationId xmlns:a16="http://schemas.microsoft.com/office/drawing/2014/main" id="{D0715AE9-27BF-BC01-5F0D-A3B02D6A9C9F}"/>
                </a:ext>
              </a:extLst>
            </p:cNvPr>
            <p:cNvSpPr txBox="1"/>
            <p:nvPr/>
          </p:nvSpPr>
          <p:spPr>
            <a:xfrm>
              <a:off x="395787" y="4371199"/>
              <a:ext cx="3316856" cy="11079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nl-NL" sz="1400" b="1" kern="0" noProof="1">
                  <a:solidFill>
                    <a:srgbClr val="F3FBF7"/>
                  </a:solidFill>
                  <a:latin typeface="Montserrat"/>
                </a:rPr>
                <a:t>Conclusion Intelligence</a:t>
              </a:r>
            </a:p>
            <a:p>
              <a:pPr algn="ctr">
                <a:spcAft>
                  <a:spcPts val="600"/>
                </a:spcAft>
              </a:pPr>
              <a:r>
                <a:rPr lang="nl-NL" sz="1400" kern="0" noProof="1">
                  <a:solidFill>
                    <a:srgbClr val="F3FBF7"/>
                  </a:solidFill>
                  <a:latin typeface="Montserrat"/>
                </a:rPr>
                <a:t>Director</a:t>
              </a:r>
            </a:p>
            <a:p>
              <a:pPr algn="ctr"/>
              <a:r>
                <a:rPr lang="nl-NL" sz="1400" kern="0" noProof="1">
                  <a:solidFill>
                    <a:srgbClr val="F3FBF7"/>
                  </a:solidFill>
                  <a:latin typeface="Montserrat"/>
                </a:rPr>
                <a:t>Business Change </a:t>
              </a:r>
            </a:p>
            <a:p>
              <a:pPr algn="ctr"/>
              <a:r>
                <a:rPr lang="nl-NL" sz="1400" kern="0" noProof="1">
                  <a:solidFill>
                    <a:srgbClr val="F3FBF7"/>
                  </a:solidFill>
                  <a:latin typeface="Montserrat"/>
                </a:rPr>
                <a:t>&amp; Sustainability</a:t>
              </a:r>
            </a:p>
          </p:txBody>
        </p:sp>
        <p:sp>
          <p:nvSpPr>
            <p:cNvPr id="13" name="Tekstvak 12">
              <a:extLst>
                <a:ext uri="{FF2B5EF4-FFF2-40B4-BE49-F238E27FC236}">
                  <a16:creationId xmlns:a16="http://schemas.microsoft.com/office/drawing/2014/main" id="{68F3D21C-B8D7-9DFB-3F28-D64F70B7DE5B}"/>
                </a:ext>
              </a:extLst>
            </p:cNvPr>
            <p:cNvSpPr txBox="1"/>
            <p:nvPr/>
          </p:nvSpPr>
          <p:spPr>
            <a:xfrm>
              <a:off x="7479811" y="4327393"/>
              <a:ext cx="3316856" cy="89255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nl-NL" sz="1400" b="1" kern="0" noProof="1">
                  <a:solidFill>
                    <a:srgbClr val="F3FBF7"/>
                  </a:solidFill>
                  <a:latin typeface="Montserrat"/>
                </a:rPr>
                <a:t>Conclusion Consulting</a:t>
              </a:r>
            </a:p>
            <a:p>
              <a:pPr algn="ctr">
                <a:spcAft>
                  <a:spcPts val="600"/>
                </a:spcAft>
              </a:pPr>
              <a:r>
                <a:rPr lang="nl-NL" sz="1400" kern="0" noProof="1">
                  <a:solidFill>
                    <a:srgbClr val="F3FBF7"/>
                  </a:solidFill>
                  <a:latin typeface="Montserrat"/>
                </a:rPr>
                <a:t>Managing Consultant</a:t>
              </a:r>
            </a:p>
            <a:p>
              <a:pPr algn="ctr"/>
              <a:r>
                <a:rPr lang="nl-NL" sz="1400" kern="0" noProof="1">
                  <a:solidFill>
                    <a:srgbClr val="F3FBF7"/>
                  </a:solidFill>
                  <a:latin typeface="Montserrat"/>
                </a:rPr>
                <a:t>Sustainability</a:t>
              </a:r>
            </a:p>
          </p:txBody>
        </p:sp>
        <p:pic>
          <p:nvPicPr>
            <p:cNvPr id="1028" name="Afbeelding 5" descr="Afbeelding met persoon, Menselijk gezicht, kleding, person&#10;&#10;Automatisch gegenereerde beschrijving">
              <a:extLst>
                <a:ext uri="{FF2B5EF4-FFF2-40B4-BE49-F238E27FC236}">
                  <a16:creationId xmlns:a16="http://schemas.microsoft.com/office/drawing/2014/main" id="{8E1A8EC8-328E-01B5-48EC-6476DE9F3E1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760" b="45892"/>
            <a:stretch/>
          </p:blipFill>
          <p:spPr bwMode="auto">
            <a:xfrm>
              <a:off x="4410296" y="1369626"/>
              <a:ext cx="2371862" cy="2340864"/>
            </a:xfrm>
            <a:prstGeom prst="ellipse">
              <a:avLst/>
            </a:prstGeom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050" name="Picture 2" descr="Meer dan 10.000 gratis afbeeldingen van Mail Icon en Mail - Pixabay">
            <a:hlinkClick r:id="rId9"/>
            <a:extLst>
              <a:ext uri="{FF2B5EF4-FFF2-40B4-BE49-F238E27FC236}">
                <a16:creationId xmlns:a16="http://schemas.microsoft.com/office/drawing/2014/main" id="{413F7C47-5B34-F465-CFE2-A2C4619098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7764" y="3111724"/>
            <a:ext cx="643533" cy="64353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Meer dan 10.000 gratis afbeeldingen van Mail Icon en Mail - Pixabay">
            <a:hlinkClick r:id="rId11"/>
            <a:extLst>
              <a:ext uri="{FF2B5EF4-FFF2-40B4-BE49-F238E27FC236}">
                <a16:creationId xmlns:a16="http://schemas.microsoft.com/office/drawing/2014/main" id="{D6BC3FFA-C0F4-F4BC-1794-8FEEA6F555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767" y="3111723"/>
            <a:ext cx="643533" cy="64353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Meer dan 10.000 gratis afbeeldingen van Mail Icon en Mail - Pixabay">
            <a:hlinkClick r:id="rId12"/>
            <a:extLst>
              <a:ext uri="{FF2B5EF4-FFF2-40B4-BE49-F238E27FC236}">
                <a16:creationId xmlns:a16="http://schemas.microsoft.com/office/drawing/2014/main" id="{BB901EA2-82F2-32B0-9DC4-74865B11BC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9144" y="3109150"/>
            <a:ext cx="643533" cy="64353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1623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33073BA-6013-1AF3-7218-93A97C22B9DF}"/>
              </a:ext>
            </a:extLst>
          </p:cNvPr>
          <p:cNvSpPr/>
          <p:nvPr/>
        </p:nvSpPr>
        <p:spPr>
          <a:xfrm>
            <a:off x="-2" y="2857"/>
            <a:ext cx="11520487" cy="5812314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9" tIns="35999" rIns="35999" bIns="359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3949">
              <a:buClr>
                <a:srgbClr val="4AC300"/>
              </a:buClr>
            </a:pPr>
            <a:endParaRPr lang="en-GB" sz="280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TextBox 80">
            <a:extLst>
              <a:ext uri="{FF2B5EF4-FFF2-40B4-BE49-F238E27FC236}">
                <a16:creationId xmlns:a16="http://schemas.microsoft.com/office/drawing/2014/main" id="{9D623F99-AE4F-0C07-EDF4-11B598F80891}"/>
              </a:ext>
            </a:extLst>
          </p:cNvPr>
          <p:cNvSpPr txBox="1"/>
          <p:nvPr/>
        </p:nvSpPr>
        <p:spPr>
          <a:xfrm>
            <a:off x="472833" y="311061"/>
            <a:ext cx="4243529" cy="707886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 marR="0" lvl="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40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Sprekers</a:t>
            </a:r>
            <a:endParaRPr lang="nl-NL" sz="1800" kern="0" noProof="1">
              <a:solidFill>
                <a:srgbClr val="F3FBF7"/>
              </a:solidFill>
              <a:latin typeface="Montserrat" panose="00000500000000000000" pitchFamily="2" charset="0"/>
            </a:endParaRP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B7DC6C2E-5713-9307-5F56-6DF891373C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688" y="6119725"/>
            <a:ext cx="431800" cy="360362"/>
          </a:xfrm>
        </p:spPr>
        <p:txBody>
          <a:bodyPr/>
          <a:lstStyle/>
          <a:p>
            <a:pPr marL="0" marR="0" lvl="0" indent="0" algn="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82D01A-ED25-4F30-894A-E32B487BCBA5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F4F6F8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pPr marL="0" marR="0" lvl="0" indent="0" algn="r" defTabSz="86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F4F6F8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7BE9F53E-EDE7-EB9E-B400-19A1514B833F}"/>
              </a:ext>
            </a:extLst>
          </p:cNvPr>
          <p:cNvSpPr/>
          <p:nvPr/>
        </p:nvSpPr>
        <p:spPr>
          <a:xfrm>
            <a:off x="244" y="5804413"/>
            <a:ext cx="11520488" cy="67558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err="1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7CA63EE-9CA2-C02E-CC18-64EC87496BE9}"/>
              </a:ext>
            </a:extLst>
          </p:cNvPr>
          <p:cNvSpPr txBox="1">
            <a:spLocks/>
          </p:cNvSpPr>
          <p:nvPr/>
        </p:nvSpPr>
        <p:spPr>
          <a:xfrm>
            <a:off x="125479" y="5917710"/>
            <a:ext cx="10296239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</a:t>
            </a:r>
            <a:r>
              <a:rPr kumimoji="0" lang="nl-NL" sz="2400" b="1" i="0" u="none" strike="noStrike" kern="1200" cap="all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BeYOND</a:t>
            </a: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A17646D5-B274-4165-E1CD-82147BA7071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9" name="Picture 2" descr="Nationale Coalitie Duurzame Digitalisering">
            <a:extLst>
              <a:ext uri="{FF2B5EF4-FFF2-40B4-BE49-F238E27FC236}">
                <a16:creationId xmlns:a16="http://schemas.microsoft.com/office/drawing/2014/main" id="{A445F8F6-2E90-4B68-86CE-071121FC53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ep 13">
            <a:extLst>
              <a:ext uri="{FF2B5EF4-FFF2-40B4-BE49-F238E27FC236}">
                <a16:creationId xmlns:a16="http://schemas.microsoft.com/office/drawing/2014/main" id="{81E34BAB-625A-B6C5-988B-31889453C205}"/>
              </a:ext>
            </a:extLst>
          </p:cNvPr>
          <p:cNvGrpSpPr/>
          <p:nvPr/>
        </p:nvGrpSpPr>
        <p:grpSpPr>
          <a:xfrm>
            <a:off x="477739" y="1369626"/>
            <a:ext cx="10565010" cy="4113688"/>
            <a:chOff x="395787" y="1369626"/>
            <a:chExt cx="10565010" cy="4113688"/>
          </a:xfrm>
        </p:grpSpPr>
        <p:pic>
          <p:nvPicPr>
            <p:cNvPr id="18" name="Picture 2" descr="profile image">
              <a:extLst>
                <a:ext uri="{FF2B5EF4-FFF2-40B4-BE49-F238E27FC236}">
                  <a16:creationId xmlns:a16="http://schemas.microsoft.com/office/drawing/2014/main" id="{A79829BE-E216-DC94-0D2E-6350016F560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058" t="5125" r="11441" b="21883"/>
            <a:stretch/>
          </p:blipFill>
          <p:spPr bwMode="auto">
            <a:xfrm>
              <a:off x="7860045" y="1384349"/>
              <a:ext cx="2421327" cy="2340864"/>
            </a:xfrm>
            <a:prstGeom prst="ellipse">
              <a:avLst/>
            </a:prstGeom>
            <a:ln w="63500" cap="rnd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Box 80">
              <a:extLst>
                <a:ext uri="{FF2B5EF4-FFF2-40B4-BE49-F238E27FC236}">
                  <a16:creationId xmlns:a16="http://schemas.microsoft.com/office/drawing/2014/main" id="{F39841A1-0617-AE13-B824-4CF6BA1E962B}"/>
                </a:ext>
              </a:extLst>
            </p:cNvPr>
            <p:cNvSpPr txBox="1"/>
            <p:nvPr/>
          </p:nvSpPr>
          <p:spPr>
            <a:xfrm>
              <a:off x="3860783" y="3919265"/>
              <a:ext cx="3470888" cy="400110"/>
            </a:xfrm>
            <a:prstGeom prst="rect">
              <a:avLst/>
            </a:prstGeom>
            <a:noFill/>
          </p:spPr>
          <p:txBody>
            <a:bodyPr wrap="square" lIns="0" tIns="45720" rIns="91440" bIns="45720" rtlCol="0" anchor="t">
              <a:spAutoFit/>
            </a:bodyPr>
            <a:lstStyle/>
            <a:p>
              <a:pPr marR="0" lvl="0" algn="ctr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tabLst/>
                <a:defRPr/>
              </a:pPr>
              <a:r>
                <a:rPr lang="en-US" sz="2000" b="1" kern="0" noProof="1">
                  <a:solidFill>
                    <a:srgbClr val="F3FBF7"/>
                  </a:solidFill>
                  <a:latin typeface="Montserrat"/>
                </a:rPr>
                <a:t>Edwin Lodder</a:t>
              </a:r>
            </a:p>
          </p:txBody>
        </p:sp>
        <p:sp>
          <p:nvSpPr>
            <p:cNvPr id="20" name="TextBox 80">
              <a:extLst>
                <a:ext uri="{FF2B5EF4-FFF2-40B4-BE49-F238E27FC236}">
                  <a16:creationId xmlns:a16="http://schemas.microsoft.com/office/drawing/2014/main" id="{B64302C8-43DC-0DFC-89AA-B7AE673655D0}"/>
                </a:ext>
              </a:extLst>
            </p:cNvPr>
            <p:cNvSpPr txBox="1"/>
            <p:nvPr/>
          </p:nvSpPr>
          <p:spPr>
            <a:xfrm>
              <a:off x="559691" y="3950042"/>
              <a:ext cx="3124112" cy="400110"/>
            </a:xfrm>
            <a:prstGeom prst="rect">
              <a:avLst/>
            </a:prstGeom>
            <a:noFill/>
          </p:spPr>
          <p:txBody>
            <a:bodyPr wrap="square" lIns="0" tIns="45720" rIns="91440" bIns="45720" rtlCol="0" anchor="t">
              <a:spAutoFit/>
            </a:bodyPr>
            <a:lstStyle/>
            <a:p>
              <a:pPr marR="0" lvl="0" algn="ctr" defTabSz="914354" eaLnBrk="1" fontAlgn="auto" latinLnBrk="0" hangingPunct="1">
                <a:lnSpc>
                  <a:spcPct val="100000"/>
                </a:lnSpc>
                <a:spcAft>
                  <a:spcPts val="600"/>
                </a:spcAft>
                <a:buClrTx/>
                <a:buSzTx/>
                <a:tabLst/>
                <a:defRPr/>
              </a:pPr>
              <a:r>
                <a:rPr lang="en-US" sz="2000" b="1" kern="0" noProof="1">
                  <a:solidFill>
                    <a:srgbClr val="F3FBF7"/>
                  </a:solidFill>
                  <a:latin typeface="Montserrat"/>
                </a:rPr>
                <a:t>Raymond van Ek</a:t>
              </a:r>
            </a:p>
          </p:txBody>
        </p:sp>
        <p:sp>
          <p:nvSpPr>
            <p:cNvPr id="21" name="TextBox 80">
              <a:extLst>
                <a:ext uri="{FF2B5EF4-FFF2-40B4-BE49-F238E27FC236}">
                  <a16:creationId xmlns:a16="http://schemas.microsoft.com/office/drawing/2014/main" id="{8DA95468-D991-5E6F-F274-A101D64C5251}"/>
                </a:ext>
              </a:extLst>
            </p:cNvPr>
            <p:cNvSpPr txBox="1"/>
            <p:nvPr/>
          </p:nvSpPr>
          <p:spPr>
            <a:xfrm>
              <a:off x="7180622" y="3923274"/>
              <a:ext cx="3780175" cy="400110"/>
            </a:xfrm>
            <a:prstGeom prst="rect">
              <a:avLst/>
            </a:prstGeom>
            <a:noFill/>
          </p:spPr>
          <p:txBody>
            <a:bodyPr wrap="square" lIns="0" rtlCol="0" anchor="t">
              <a:spAutoFit/>
            </a:bodyPr>
            <a:lstStyle/>
            <a:p>
              <a:pPr marR="0" lvl="0" algn="ctr" defTabSz="9143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tabLst/>
                <a:defRPr/>
              </a:pPr>
              <a:r>
                <a:rPr lang="en-US" sz="2000" b="1" kern="0" noProof="1">
                  <a:solidFill>
                    <a:srgbClr val="F3FBF7"/>
                  </a:solidFill>
                  <a:latin typeface="Montserrat" panose="00000500000000000000" pitchFamily="2" charset="0"/>
                </a:rPr>
                <a:t>Rutger van IJzendoorn</a:t>
              </a:r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7D82BE1E-AA53-DBB6-4CAA-E9D84C79482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1909" y="1380601"/>
              <a:ext cx="2344612" cy="2344612"/>
            </a:xfrm>
            <a:prstGeom prst="ellipse">
              <a:avLst/>
            </a:prstGeom>
            <a:ln w="63500" cap="rnd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233713BF-4974-D669-13DB-FD1B2E68EC8D}"/>
                </a:ext>
              </a:extLst>
            </p:cNvPr>
            <p:cNvSpPr txBox="1"/>
            <p:nvPr/>
          </p:nvSpPr>
          <p:spPr>
            <a:xfrm>
              <a:off x="3937799" y="4375318"/>
              <a:ext cx="3316856" cy="11079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nl-NL" sz="1400" b="1" kern="0" noProof="1">
                  <a:solidFill>
                    <a:srgbClr val="F3FBF7"/>
                  </a:solidFill>
                  <a:latin typeface="Montserrat"/>
                </a:rPr>
                <a:t>Yellowtail Conclusion</a:t>
              </a:r>
            </a:p>
            <a:p>
              <a:pPr algn="ctr">
                <a:spcAft>
                  <a:spcPts val="600"/>
                </a:spcAft>
              </a:pPr>
              <a:r>
                <a:rPr lang="nl-NL" sz="1400" kern="0" noProof="1">
                  <a:solidFill>
                    <a:srgbClr val="F3FBF7"/>
                  </a:solidFill>
                  <a:latin typeface="Montserrat"/>
                </a:rPr>
                <a:t>Managing Director</a:t>
              </a:r>
            </a:p>
            <a:p>
              <a:pPr algn="ctr"/>
              <a:r>
                <a:rPr lang="nl-NL" sz="1400" kern="0" noProof="1">
                  <a:solidFill>
                    <a:srgbClr val="F3FBF7"/>
                  </a:solidFill>
                  <a:latin typeface="Montserrat"/>
                </a:rPr>
                <a:t>Sustainability </a:t>
              </a:r>
            </a:p>
            <a:p>
              <a:pPr algn="ctr"/>
              <a:r>
                <a:rPr lang="nl-NL" sz="1400" kern="0" noProof="1">
                  <a:solidFill>
                    <a:srgbClr val="F3FBF7"/>
                  </a:solidFill>
                  <a:latin typeface="Montserrat"/>
                </a:rPr>
                <a:t>&amp; Key Control Dashbaord</a:t>
              </a:r>
            </a:p>
          </p:txBody>
        </p:sp>
        <p:sp>
          <p:nvSpPr>
            <p:cNvPr id="12" name="Tekstvak 11">
              <a:extLst>
                <a:ext uri="{FF2B5EF4-FFF2-40B4-BE49-F238E27FC236}">
                  <a16:creationId xmlns:a16="http://schemas.microsoft.com/office/drawing/2014/main" id="{D0715AE9-27BF-BC01-5F0D-A3B02D6A9C9F}"/>
                </a:ext>
              </a:extLst>
            </p:cNvPr>
            <p:cNvSpPr txBox="1"/>
            <p:nvPr/>
          </p:nvSpPr>
          <p:spPr>
            <a:xfrm>
              <a:off x="395787" y="4371199"/>
              <a:ext cx="3316856" cy="11079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nl-NL" sz="1400" b="1" kern="0" noProof="1">
                  <a:solidFill>
                    <a:srgbClr val="F3FBF7"/>
                  </a:solidFill>
                  <a:latin typeface="Montserrat"/>
                </a:rPr>
                <a:t>Conclusion Intelligence</a:t>
              </a:r>
            </a:p>
            <a:p>
              <a:pPr algn="ctr">
                <a:spcAft>
                  <a:spcPts val="600"/>
                </a:spcAft>
              </a:pPr>
              <a:r>
                <a:rPr lang="nl-NL" sz="1400" kern="0" noProof="1">
                  <a:solidFill>
                    <a:srgbClr val="F3FBF7"/>
                  </a:solidFill>
                  <a:latin typeface="Montserrat"/>
                </a:rPr>
                <a:t>Director</a:t>
              </a:r>
            </a:p>
            <a:p>
              <a:pPr algn="ctr"/>
              <a:r>
                <a:rPr lang="nl-NL" sz="1400" kern="0" noProof="1">
                  <a:solidFill>
                    <a:srgbClr val="F3FBF7"/>
                  </a:solidFill>
                  <a:latin typeface="Montserrat"/>
                </a:rPr>
                <a:t>Business Change </a:t>
              </a:r>
            </a:p>
            <a:p>
              <a:pPr algn="ctr"/>
              <a:r>
                <a:rPr lang="nl-NL" sz="1400" kern="0" noProof="1">
                  <a:solidFill>
                    <a:srgbClr val="F3FBF7"/>
                  </a:solidFill>
                  <a:latin typeface="Montserrat"/>
                </a:rPr>
                <a:t>&amp; Sustainability</a:t>
              </a:r>
            </a:p>
          </p:txBody>
        </p:sp>
        <p:sp>
          <p:nvSpPr>
            <p:cNvPr id="13" name="Tekstvak 12">
              <a:extLst>
                <a:ext uri="{FF2B5EF4-FFF2-40B4-BE49-F238E27FC236}">
                  <a16:creationId xmlns:a16="http://schemas.microsoft.com/office/drawing/2014/main" id="{68F3D21C-B8D7-9DFB-3F28-D64F70B7DE5B}"/>
                </a:ext>
              </a:extLst>
            </p:cNvPr>
            <p:cNvSpPr txBox="1"/>
            <p:nvPr/>
          </p:nvSpPr>
          <p:spPr>
            <a:xfrm>
              <a:off x="7479811" y="4327393"/>
              <a:ext cx="3316856" cy="89255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nl-NL" sz="1400" b="1" kern="0" noProof="1">
                  <a:solidFill>
                    <a:srgbClr val="F3FBF7"/>
                  </a:solidFill>
                  <a:latin typeface="Montserrat"/>
                </a:rPr>
                <a:t>Conclusion Consulting</a:t>
              </a:r>
            </a:p>
            <a:p>
              <a:pPr algn="ctr">
                <a:spcAft>
                  <a:spcPts val="600"/>
                </a:spcAft>
              </a:pPr>
              <a:r>
                <a:rPr lang="nl-NL" sz="1400" kern="0" noProof="1">
                  <a:solidFill>
                    <a:srgbClr val="F3FBF7"/>
                  </a:solidFill>
                  <a:latin typeface="Montserrat"/>
                </a:rPr>
                <a:t>Managing Consultant</a:t>
              </a:r>
            </a:p>
            <a:p>
              <a:pPr algn="ctr"/>
              <a:r>
                <a:rPr lang="nl-NL" sz="1400" kern="0" noProof="1">
                  <a:solidFill>
                    <a:srgbClr val="F3FBF7"/>
                  </a:solidFill>
                  <a:latin typeface="Montserrat"/>
                </a:rPr>
                <a:t>Sustainability</a:t>
              </a:r>
            </a:p>
          </p:txBody>
        </p:sp>
        <p:pic>
          <p:nvPicPr>
            <p:cNvPr id="1028" name="Afbeelding 5" descr="Afbeelding met persoon, Menselijk gezicht, kleding, person&#10;&#10;Automatisch gegenereerde beschrijving">
              <a:extLst>
                <a:ext uri="{FF2B5EF4-FFF2-40B4-BE49-F238E27FC236}">
                  <a16:creationId xmlns:a16="http://schemas.microsoft.com/office/drawing/2014/main" id="{8E1A8EC8-328E-01B5-48EC-6476DE9F3E1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760" b="45892"/>
            <a:stretch/>
          </p:blipFill>
          <p:spPr bwMode="auto">
            <a:xfrm>
              <a:off x="4410296" y="1369626"/>
              <a:ext cx="2371862" cy="2340864"/>
            </a:xfrm>
            <a:prstGeom prst="ellipse">
              <a:avLst/>
            </a:prstGeom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74330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4DE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6"/>
          <p:cNvSpPr txBox="1"/>
          <p:nvPr/>
        </p:nvSpPr>
        <p:spPr>
          <a:xfrm>
            <a:off x="3220796" y="3968481"/>
            <a:ext cx="5078897" cy="29193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99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598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397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196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3995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2794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593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0392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469"/>
              </a:lnSpc>
            </a:pPr>
            <a:r>
              <a:rPr lang="en-US" sz="1764" spc="88">
                <a:solidFill>
                  <a:srgbClr val="35744F"/>
                </a:solidFill>
                <a:latin typeface="Arial Bold"/>
              </a:rPr>
              <a:t>Nationale Coalitie Duurzame Digitalisering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2372372" y="3110858"/>
            <a:ext cx="6775742" cy="859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99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598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397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196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3995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2794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593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0392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6652"/>
              </a:lnSpc>
            </a:pPr>
            <a:r>
              <a:rPr lang="en-US" sz="6929">
                <a:solidFill>
                  <a:srgbClr val="35744F"/>
                </a:solidFill>
                <a:latin typeface="Arial Bold"/>
              </a:rPr>
              <a:t>THANK YOU</a:t>
            </a:r>
          </a:p>
        </p:txBody>
      </p:sp>
      <p:sp>
        <p:nvSpPr>
          <p:cNvPr id="8" name="Freeform 8"/>
          <p:cNvSpPr/>
          <p:nvPr/>
        </p:nvSpPr>
        <p:spPr>
          <a:xfrm>
            <a:off x="7288621" y="-24001"/>
            <a:ext cx="4279780" cy="4138221"/>
          </a:xfrm>
          <a:custGeom>
            <a:avLst/>
            <a:gdLst/>
            <a:ahLst/>
            <a:cxnLst/>
            <a:rect l="l" t="t" r="r" b="b"/>
            <a:pathLst>
              <a:path w="6793968" h="6569249">
                <a:moveTo>
                  <a:pt x="0" y="0"/>
                </a:moveTo>
                <a:lnTo>
                  <a:pt x="6793968" y="0"/>
                </a:lnTo>
                <a:lnTo>
                  <a:pt x="6793968" y="6569249"/>
                </a:lnTo>
                <a:lnTo>
                  <a:pt x="0" y="6569249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l="-236826" b="-95923"/>
            </a:stretch>
          </a:blipFill>
        </p:spPr>
        <p:txBody>
          <a:bodyPr/>
          <a:lstStyle>
            <a:defPPr>
              <a:defRPr lang="en-US"/>
            </a:defPPr>
            <a:lvl1pPr marL="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990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598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397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196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39951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2794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1593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303922" algn="l" defTabSz="575981" rtl="0" eaLnBrk="1" latinLnBrk="0" hangingPunct="1">
              <a:defRPr sz="11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NL" sz="714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33073BA-6013-1AF3-7218-93A97C22B9DF}"/>
              </a:ext>
            </a:extLst>
          </p:cNvPr>
          <p:cNvSpPr/>
          <p:nvPr/>
        </p:nvSpPr>
        <p:spPr>
          <a:xfrm>
            <a:off x="-2" y="2857"/>
            <a:ext cx="11520487" cy="5812314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9" tIns="35999" rIns="35999" bIns="359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3949">
              <a:buClr>
                <a:srgbClr val="4AC300"/>
              </a:buClr>
            </a:pPr>
            <a:endParaRPr lang="en-GB" sz="280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TextBox 80">
            <a:extLst>
              <a:ext uri="{FF2B5EF4-FFF2-40B4-BE49-F238E27FC236}">
                <a16:creationId xmlns:a16="http://schemas.microsoft.com/office/drawing/2014/main" id="{9D623F99-AE4F-0C07-EDF4-11B598F80891}"/>
              </a:ext>
            </a:extLst>
          </p:cNvPr>
          <p:cNvSpPr txBox="1"/>
          <p:nvPr/>
        </p:nvSpPr>
        <p:spPr>
          <a:xfrm>
            <a:off x="472833" y="311061"/>
            <a:ext cx="4243529" cy="707886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 marR="0" lvl="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40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Conclusion</a:t>
            </a:r>
            <a:endParaRPr lang="nl-NL" sz="1800" kern="0" noProof="1">
              <a:solidFill>
                <a:srgbClr val="F3FBF7"/>
              </a:solidFill>
              <a:latin typeface="Montserrat" panose="00000500000000000000" pitchFamily="2" charset="0"/>
            </a:endParaRP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B7DC6C2E-5713-9307-5F56-6DF891373C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688" y="6119725"/>
            <a:ext cx="431800" cy="360362"/>
          </a:xfrm>
        </p:spPr>
        <p:txBody>
          <a:bodyPr/>
          <a:lstStyle/>
          <a:p>
            <a:pPr marL="0" marR="0" lvl="0" indent="0" algn="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82D01A-ED25-4F30-894A-E32B487BCBA5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F4F6F8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pPr marL="0" marR="0" lvl="0" indent="0" algn="r" defTabSz="86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F4F6F8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7BE9F53E-EDE7-EB9E-B400-19A1514B833F}"/>
              </a:ext>
            </a:extLst>
          </p:cNvPr>
          <p:cNvSpPr/>
          <p:nvPr/>
        </p:nvSpPr>
        <p:spPr>
          <a:xfrm>
            <a:off x="244" y="5804413"/>
            <a:ext cx="11520488" cy="67558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err="1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7CA63EE-9CA2-C02E-CC18-64EC87496BE9}"/>
              </a:ext>
            </a:extLst>
          </p:cNvPr>
          <p:cNvSpPr txBox="1">
            <a:spLocks/>
          </p:cNvSpPr>
          <p:nvPr/>
        </p:nvSpPr>
        <p:spPr>
          <a:xfrm>
            <a:off x="125479" y="5917710"/>
            <a:ext cx="10296239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BeYOND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A17646D5-B274-4165-E1CD-82147BA7071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9" name="Picture 2" descr="Nationale Coalitie Duurzame Digitalisering">
            <a:extLst>
              <a:ext uri="{FF2B5EF4-FFF2-40B4-BE49-F238E27FC236}">
                <a16:creationId xmlns:a16="http://schemas.microsoft.com/office/drawing/2014/main" id="{A445F8F6-2E90-4B68-86CE-071121FC53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9" name="Groep 48">
            <a:extLst>
              <a:ext uri="{FF2B5EF4-FFF2-40B4-BE49-F238E27FC236}">
                <a16:creationId xmlns:a16="http://schemas.microsoft.com/office/drawing/2014/main" id="{CFB75B5B-9739-91AF-7056-BCA465245BC1}"/>
              </a:ext>
            </a:extLst>
          </p:cNvPr>
          <p:cNvGrpSpPr/>
          <p:nvPr/>
        </p:nvGrpSpPr>
        <p:grpSpPr>
          <a:xfrm>
            <a:off x="317142" y="1251692"/>
            <a:ext cx="9833789" cy="4168159"/>
            <a:chOff x="338500" y="1251692"/>
            <a:chExt cx="9833789" cy="4168159"/>
          </a:xfrm>
        </p:grpSpPr>
        <p:sp>
          <p:nvSpPr>
            <p:cNvPr id="5" name="Tijdelijke aanduiding voor tekst 18">
              <a:extLst>
                <a:ext uri="{FF2B5EF4-FFF2-40B4-BE49-F238E27FC236}">
                  <a16:creationId xmlns:a16="http://schemas.microsoft.com/office/drawing/2014/main" id="{4E5A2F61-3543-16B6-2A66-3C420969529D}"/>
                </a:ext>
              </a:extLst>
            </p:cNvPr>
            <p:cNvSpPr txBox="1">
              <a:spLocks/>
            </p:cNvSpPr>
            <p:nvPr/>
          </p:nvSpPr>
          <p:spPr>
            <a:xfrm>
              <a:off x="1900287" y="1251692"/>
              <a:ext cx="8272002" cy="950992"/>
            </a:xfrm>
            <a:prstGeom prst="rect">
              <a:avLst/>
            </a:prstGeom>
            <a:solidFill>
              <a:srgbClr val="FFFFFF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108000" tIns="108000" rIns="108000" bIns="0" rtlCol="0" anchor="t" anchorCtr="0">
              <a:noAutofit/>
            </a:bodyPr>
            <a:lstStyle>
              <a:defPPr>
                <a:defRPr lang="nl-NL"/>
              </a:defPPr>
              <a:lvl1pPr>
                <a:lnSpc>
                  <a:spcPct val="90000"/>
                </a:lnSpc>
                <a:spcBef>
                  <a:spcPts val="800"/>
                </a:spcBef>
                <a:buClr>
                  <a:schemeClr val="accent5"/>
                </a:buClr>
                <a:buSzPct val="80000"/>
                <a:defRPr sz="1600"/>
              </a:lvl1pPr>
              <a:lvl2pPr marL="0" indent="0" algn="l" defTabSz="6858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kern="1200" cap="all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2pPr>
              <a:lvl3pPr marL="0" indent="0" algn="l" defTabSz="6858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kern="1200" cap="all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3pPr>
              <a:lvl4pPr marL="0" indent="0" algn="l" defTabSz="6858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kern="1200" cap="all" baseline="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4pPr>
              <a:lvl5pPr marL="0" indent="0" algn="l" defTabSz="6858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kern="1200" cap="all" baseline="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5pPr>
              <a:lvl6pPr marL="0" indent="0" algn="l" defTabSz="6858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+mj-lt"/>
                <a:buNone/>
                <a:defRPr sz="14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68288" indent="-268288" algn="l" defTabSz="6858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+mj-lt"/>
                <a:buAutoNum type="arabicPeriod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68288" indent="-268288" algn="l" defTabSz="6858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+mj-lt"/>
                <a:buAutoNum type="alphaLcPeriod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6858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i="1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>
                  <a:srgbClr val="BC448C"/>
                </a:buClr>
                <a:buSzPct val="80000"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BC448C"/>
                  </a:solidFill>
                  <a:effectLst/>
                  <a:uLnTx/>
                  <a:uFillTx/>
                  <a:latin typeface="Arial Black"/>
                </a:rPr>
                <a:t>STRATEGY ENABLEMENT</a:t>
              </a:r>
            </a:p>
          </p:txBody>
        </p:sp>
        <p:pic>
          <p:nvPicPr>
            <p:cNvPr id="8" name="Afbeelding 7">
              <a:hlinkClick r:id="" action="ppaction://noaction"/>
              <a:extLst>
                <a:ext uri="{FF2B5EF4-FFF2-40B4-BE49-F238E27FC236}">
                  <a16:creationId xmlns:a16="http://schemas.microsoft.com/office/drawing/2014/main" id="{441BE0C1-6A86-A82F-1842-587A8D24725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-80" t="262" r="-896" b="1073"/>
            <a:stretch/>
          </p:blipFill>
          <p:spPr>
            <a:xfrm>
              <a:off x="2014287" y="1771522"/>
              <a:ext cx="824385" cy="203331"/>
            </a:xfrm>
            <a:prstGeom prst="rect">
              <a:avLst/>
            </a:prstGeom>
          </p:spPr>
        </p:pic>
        <p:pic>
          <p:nvPicPr>
            <p:cNvPr id="10" name="Afbeelding 9">
              <a:hlinkClick r:id="" action="ppaction://noaction"/>
              <a:extLst>
                <a:ext uri="{FF2B5EF4-FFF2-40B4-BE49-F238E27FC236}">
                  <a16:creationId xmlns:a16="http://schemas.microsoft.com/office/drawing/2014/main" id="{50CF45E6-EE4E-33B5-A64B-CA703E76489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318737" y="1709721"/>
              <a:ext cx="785281" cy="321880"/>
            </a:xfrm>
            <a:prstGeom prst="rect">
              <a:avLst/>
            </a:prstGeom>
          </p:spPr>
        </p:pic>
        <p:sp>
          <p:nvSpPr>
            <p:cNvPr id="11" name="Tijdelijke aanduiding voor tekst 18">
              <a:hlinkClick r:id="" action="ppaction://noaction"/>
              <a:extLst>
                <a:ext uri="{FF2B5EF4-FFF2-40B4-BE49-F238E27FC236}">
                  <a16:creationId xmlns:a16="http://schemas.microsoft.com/office/drawing/2014/main" id="{6704A823-D358-6B5E-2EA9-85AB6D547F75}"/>
                </a:ext>
              </a:extLst>
            </p:cNvPr>
            <p:cNvSpPr txBox="1">
              <a:spLocks/>
            </p:cNvSpPr>
            <p:nvPr/>
          </p:nvSpPr>
          <p:spPr>
            <a:xfrm>
              <a:off x="1902428" y="3381064"/>
              <a:ext cx="3049717" cy="1022368"/>
            </a:xfrm>
            <a:prstGeom prst="rect">
              <a:avLst/>
            </a:prstGeom>
            <a:solidFill>
              <a:srgbClr val="FFFFFF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108000" tIns="108000" rIns="108000" bIns="0" rtlCol="0" anchor="t" anchorCtr="0">
              <a:noAutofit/>
            </a:bodyPr>
            <a:lstStyle>
              <a:defPPr>
                <a:defRPr lang="nl-NL"/>
              </a:defPPr>
              <a:lvl1pPr>
                <a:lnSpc>
                  <a:spcPct val="90000"/>
                </a:lnSpc>
                <a:spcBef>
                  <a:spcPts val="800"/>
                </a:spcBef>
                <a:buClr>
                  <a:schemeClr val="accent5"/>
                </a:buClr>
                <a:buSzPct val="80000"/>
                <a:defRPr sz="1200">
                  <a:solidFill>
                    <a:schemeClr val="accent6"/>
                  </a:solidFill>
                  <a:latin typeface="+mj-lt"/>
                </a:defRPr>
              </a:lvl1pPr>
              <a:lvl2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>
                  <a:solidFill>
                    <a:schemeClr val="bg1"/>
                  </a:solidFill>
                  <a:latin typeface="+mj-lt"/>
                </a:defRPr>
              </a:lvl2pPr>
              <a:lvl3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>
                  <a:solidFill>
                    <a:schemeClr val="bg1"/>
                  </a:solidFill>
                  <a:latin typeface="+mj-lt"/>
                </a:defRPr>
              </a:lvl3pPr>
              <a:lvl4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 baseline="0">
                  <a:solidFill>
                    <a:schemeClr val="bg1"/>
                  </a:solidFill>
                  <a:latin typeface="+mj-lt"/>
                </a:defRPr>
              </a:lvl4pPr>
              <a:lvl5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 baseline="0">
                  <a:solidFill>
                    <a:schemeClr val="bg1"/>
                  </a:solidFill>
                  <a:latin typeface="+mj-lt"/>
                </a:defRPr>
              </a:lvl5pPr>
              <a:lvl6pPr marL="0" indent="0" defTabSz="685800">
                <a:lnSpc>
                  <a:spcPct val="90000"/>
                </a:lnSpc>
                <a:spcBef>
                  <a:spcPts val="600"/>
                </a:spcBef>
                <a:buFont typeface="+mj-lt"/>
                <a:buNone/>
                <a:defRPr sz="1400" cap="all" baseline="0"/>
              </a:lvl6pPr>
              <a:lvl7pPr marL="268288" indent="-268288" defTabSz="685800">
                <a:lnSpc>
                  <a:spcPct val="90000"/>
                </a:lnSpc>
                <a:spcBef>
                  <a:spcPts val="600"/>
                </a:spcBef>
                <a:buFont typeface="+mj-lt"/>
                <a:buAutoNum type="arabicPeriod"/>
                <a:defRPr sz="1400"/>
              </a:lvl7pPr>
              <a:lvl8pPr marL="268288" indent="-268288" defTabSz="685800">
                <a:lnSpc>
                  <a:spcPct val="90000"/>
                </a:lnSpc>
                <a:spcBef>
                  <a:spcPts val="600"/>
                </a:spcBef>
                <a:buFont typeface="+mj-lt"/>
                <a:buAutoNum type="alphaLcPeriod"/>
                <a:defRPr sz="1400"/>
              </a:lvl8pPr>
              <a:lvl9pPr marL="0" indent="0" defTabSz="685800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i="1">
                  <a:solidFill>
                    <a:schemeClr val="bg2"/>
                  </a:solidFill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>
                  <a:srgbClr val="BC448C"/>
                </a:buClr>
                <a:buSzPct val="80000"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BC448C"/>
                  </a:solidFill>
                  <a:effectLst/>
                  <a:uLnTx/>
                  <a:uFillTx/>
                  <a:latin typeface="Arial Black"/>
                </a:rPr>
                <a:t>CUSTOM SOFTWARE </a:t>
              </a:r>
              <a:b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BC448C"/>
                  </a:solidFill>
                  <a:effectLst/>
                  <a:uLnTx/>
                  <a:uFillTx/>
                  <a:latin typeface="Arial Black"/>
                </a:rPr>
              </a:b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BC448C"/>
                  </a:solidFill>
                  <a:effectLst/>
                  <a:uLnTx/>
                  <a:uFillTx/>
                  <a:latin typeface="Arial Black"/>
                </a:rPr>
                <a:t>&amp; INTEGRATION</a:t>
              </a:r>
            </a:p>
          </p:txBody>
        </p:sp>
        <p:pic>
          <p:nvPicPr>
            <p:cNvPr id="12" name="Afbeelding 11">
              <a:hlinkClick r:id="" action="ppaction://noaction"/>
              <a:extLst>
                <a:ext uri="{FF2B5EF4-FFF2-40B4-BE49-F238E27FC236}">
                  <a16:creationId xmlns:a16="http://schemas.microsoft.com/office/drawing/2014/main" id="{016B950D-1A20-3E8C-CBEC-4E2D8C45E62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004672" y="3973157"/>
              <a:ext cx="740137" cy="181258"/>
            </a:xfrm>
            <a:prstGeom prst="rect">
              <a:avLst/>
            </a:prstGeom>
          </p:spPr>
        </p:pic>
        <p:sp>
          <p:nvSpPr>
            <p:cNvPr id="13" name="Tijdelijke aanduiding voor tekst 18">
              <a:hlinkClick r:id="" action="ppaction://noaction"/>
              <a:extLst>
                <a:ext uri="{FF2B5EF4-FFF2-40B4-BE49-F238E27FC236}">
                  <a16:creationId xmlns:a16="http://schemas.microsoft.com/office/drawing/2014/main" id="{559A12C3-85DA-1FFA-44F1-C8EE71452872}"/>
                </a:ext>
              </a:extLst>
            </p:cNvPr>
            <p:cNvSpPr txBox="1">
              <a:spLocks/>
            </p:cNvSpPr>
            <p:nvPr/>
          </p:nvSpPr>
          <p:spPr>
            <a:xfrm>
              <a:off x="7471414" y="2272939"/>
              <a:ext cx="2686172" cy="1020069"/>
            </a:xfrm>
            <a:prstGeom prst="rect">
              <a:avLst/>
            </a:prstGeom>
            <a:solidFill>
              <a:srgbClr val="FFFFFF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108000" tIns="108000" rIns="108000" bIns="0" rtlCol="0" anchor="t" anchorCtr="0">
              <a:noAutofit/>
            </a:bodyPr>
            <a:lstStyle>
              <a:defPPr>
                <a:defRPr lang="nl-NL"/>
              </a:defPPr>
              <a:lvl1pPr>
                <a:lnSpc>
                  <a:spcPct val="90000"/>
                </a:lnSpc>
                <a:spcBef>
                  <a:spcPts val="800"/>
                </a:spcBef>
                <a:buClr>
                  <a:schemeClr val="accent5"/>
                </a:buClr>
                <a:buSzPct val="80000"/>
                <a:defRPr sz="1200">
                  <a:solidFill>
                    <a:schemeClr val="tx2"/>
                  </a:solidFill>
                  <a:latin typeface="+mj-lt"/>
                </a:defRPr>
              </a:lvl1pPr>
              <a:lvl2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>
                  <a:solidFill>
                    <a:schemeClr val="bg1"/>
                  </a:solidFill>
                  <a:latin typeface="+mj-lt"/>
                </a:defRPr>
              </a:lvl2pPr>
              <a:lvl3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>
                  <a:solidFill>
                    <a:schemeClr val="bg1"/>
                  </a:solidFill>
                  <a:latin typeface="+mj-lt"/>
                </a:defRPr>
              </a:lvl3pPr>
              <a:lvl4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 baseline="0">
                  <a:solidFill>
                    <a:schemeClr val="bg1"/>
                  </a:solidFill>
                  <a:latin typeface="+mj-lt"/>
                </a:defRPr>
              </a:lvl4pPr>
              <a:lvl5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 baseline="0">
                  <a:solidFill>
                    <a:schemeClr val="bg1"/>
                  </a:solidFill>
                  <a:latin typeface="+mj-lt"/>
                </a:defRPr>
              </a:lvl5pPr>
              <a:lvl6pPr marL="0" indent="0" defTabSz="685800">
                <a:lnSpc>
                  <a:spcPct val="90000"/>
                </a:lnSpc>
                <a:spcBef>
                  <a:spcPts val="600"/>
                </a:spcBef>
                <a:buFont typeface="+mj-lt"/>
                <a:buNone/>
                <a:defRPr sz="1400" cap="all" baseline="0"/>
              </a:lvl6pPr>
              <a:lvl7pPr marL="268288" indent="-268288" defTabSz="685800">
                <a:lnSpc>
                  <a:spcPct val="90000"/>
                </a:lnSpc>
                <a:spcBef>
                  <a:spcPts val="600"/>
                </a:spcBef>
                <a:buFont typeface="+mj-lt"/>
                <a:buAutoNum type="arabicPeriod"/>
                <a:defRPr sz="1400"/>
              </a:lvl7pPr>
              <a:lvl8pPr marL="268288" indent="-268288" defTabSz="685800">
                <a:lnSpc>
                  <a:spcPct val="90000"/>
                </a:lnSpc>
                <a:spcBef>
                  <a:spcPts val="600"/>
                </a:spcBef>
                <a:buFont typeface="+mj-lt"/>
                <a:buAutoNum type="alphaLcPeriod"/>
                <a:defRPr sz="1400"/>
              </a:lvl8pPr>
              <a:lvl9pPr marL="0" indent="0" defTabSz="685800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i="1">
                  <a:solidFill>
                    <a:schemeClr val="bg2"/>
                  </a:solidFill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>
                  <a:srgbClr val="BC448C"/>
                </a:buClr>
                <a:buSzPct val="80000"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F1CA13"/>
                  </a:solidFill>
                  <a:effectLst/>
                  <a:uLnTx/>
                  <a:uFillTx/>
                  <a:latin typeface="Arial Black"/>
                </a:rPr>
                <a:t>BUSINESS PLATFORMS</a:t>
              </a:r>
            </a:p>
          </p:txBody>
        </p:sp>
        <p:sp>
          <p:nvSpPr>
            <p:cNvPr id="14" name="Tijdelijke aanduiding voor tekst 18">
              <a:hlinkClick r:id="" action="ppaction://noaction"/>
              <a:extLst>
                <a:ext uri="{FF2B5EF4-FFF2-40B4-BE49-F238E27FC236}">
                  <a16:creationId xmlns:a16="http://schemas.microsoft.com/office/drawing/2014/main" id="{63ED54DF-4864-AC10-EEE0-350C9079A4A1}"/>
                </a:ext>
              </a:extLst>
            </p:cNvPr>
            <p:cNvSpPr txBox="1">
              <a:spLocks/>
            </p:cNvSpPr>
            <p:nvPr/>
          </p:nvSpPr>
          <p:spPr>
            <a:xfrm>
              <a:off x="4678748" y="2279361"/>
              <a:ext cx="2715079" cy="1020069"/>
            </a:xfrm>
            <a:prstGeom prst="rect">
              <a:avLst/>
            </a:prstGeom>
            <a:solidFill>
              <a:srgbClr val="FFFFFF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108000" tIns="108000" rIns="108000" bIns="0" rtlCol="0" anchor="t" anchorCtr="0">
              <a:noAutofit/>
            </a:bodyPr>
            <a:lstStyle>
              <a:defPPr>
                <a:defRPr lang="nl-NL"/>
              </a:defPPr>
              <a:lvl1pPr>
                <a:lnSpc>
                  <a:spcPct val="90000"/>
                </a:lnSpc>
                <a:spcBef>
                  <a:spcPts val="800"/>
                </a:spcBef>
                <a:buClr>
                  <a:schemeClr val="accent5"/>
                </a:buClr>
                <a:buSzPct val="80000"/>
                <a:defRPr sz="1200">
                  <a:solidFill>
                    <a:schemeClr val="tx2"/>
                  </a:solidFill>
                  <a:latin typeface="+mj-lt"/>
                </a:defRPr>
              </a:lvl1pPr>
              <a:lvl2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>
                  <a:solidFill>
                    <a:schemeClr val="bg1"/>
                  </a:solidFill>
                  <a:latin typeface="+mj-lt"/>
                </a:defRPr>
              </a:lvl2pPr>
              <a:lvl3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>
                  <a:solidFill>
                    <a:schemeClr val="bg1"/>
                  </a:solidFill>
                  <a:latin typeface="+mj-lt"/>
                </a:defRPr>
              </a:lvl3pPr>
              <a:lvl4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 baseline="0">
                  <a:solidFill>
                    <a:schemeClr val="bg1"/>
                  </a:solidFill>
                  <a:latin typeface="+mj-lt"/>
                </a:defRPr>
              </a:lvl4pPr>
              <a:lvl5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 baseline="0">
                  <a:solidFill>
                    <a:schemeClr val="bg1"/>
                  </a:solidFill>
                  <a:latin typeface="+mj-lt"/>
                </a:defRPr>
              </a:lvl5pPr>
              <a:lvl6pPr marL="0" indent="0" defTabSz="685800">
                <a:lnSpc>
                  <a:spcPct val="90000"/>
                </a:lnSpc>
                <a:spcBef>
                  <a:spcPts val="600"/>
                </a:spcBef>
                <a:buFont typeface="+mj-lt"/>
                <a:buNone/>
                <a:defRPr sz="1400" cap="all" baseline="0"/>
              </a:lvl6pPr>
              <a:lvl7pPr marL="268288" indent="-268288" defTabSz="685800">
                <a:lnSpc>
                  <a:spcPct val="90000"/>
                </a:lnSpc>
                <a:spcBef>
                  <a:spcPts val="600"/>
                </a:spcBef>
                <a:buFont typeface="+mj-lt"/>
                <a:buAutoNum type="arabicPeriod"/>
                <a:defRPr sz="1400"/>
              </a:lvl7pPr>
              <a:lvl8pPr marL="268288" indent="-268288" defTabSz="685800">
                <a:lnSpc>
                  <a:spcPct val="90000"/>
                </a:lnSpc>
                <a:spcBef>
                  <a:spcPts val="600"/>
                </a:spcBef>
                <a:buFont typeface="+mj-lt"/>
                <a:buAutoNum type="alphaLcPeriod"/>
                <a:defRPr sz="1400"/>
              </a:lvl8pPr>
              <a:lvl9pPr marL="0" indent="0" defTabSz="685800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i="1">
                  <a:solidFill>
                    <a:schemeClr val="bg2"/>
                  </a:solidFill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>
                  <a:srgbClr val="BC448C"/>
                </a:buClr>
                <a:buSzPct val="80000"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C83737"/>
                  </a:solidFill>
                  <a:effectLst/>
                  <a:uLnTx/>
                  <a:uFillTx/>
                  <a:latin typeface="Arial Black"/>
                </a:rPr>
                <a:t>DATA DRIVEN</a:t>
              </a:r>
            </a:p>
          </p:txBody>
        </p:sp>
        <p:sp>
          <p:nvSpPr>
            <p:cNvPr id="16" name="Tijdelijke aanduiding voor tekst 18">
              <a:extLst>
                <a:ext uri="{FF2B5EF4-FFF2-40B4-BE49-F238E27FC236}">
                  <a16:creationId xmlns:a16="http://schemas.microsoft.com/office/drawing/2014/main" id="{0DE70646-96D5-A5AC-0A4E-85A9D9E114AC}"/>
                </a:ext>
              </a:extLst>
            </p:cNvPr>
            <p:cNvSpPr txBox="1">
              <a:spLocks/>
            </p:cNvSpPr>
            <p:nvPr/>
          </p:nvSpPr>
          <p:spPr>
            <a:xfrm>
              <a:off x="1904915" y="2276106"/>
              <a:ext cx="2686172" cy="1016902"/>
            </a:xfrm>
            <a:prstGeom prst="rect">
              <a:avLst/>
            </a:prstGeom>
            <a:solidFill>
              <a:srgbClr val="FFFFFF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108000" tIns="108000" rIns="108000" bIns="0" rtlCol="0" anchor="t" anchorCtr="0">
              <a:noAutofit/>
            </a:bodyPr>
            <a:lstStyle>
              <a:defPPr>
                <a:defRPr lang="nl-NL"/>
              </a:defPPr>
              <a:lvl1pPr>
                <a:lnSpc>
                  <a:spcPct val="90000"/>
                </a:lnSpc>
                <a:spcBef>
                  <a:spcPts val="800"/>
                </a:spcBef>
                <a:buClr>
                  <a:schemeClr val="accent5"/>
                </a:buClr>
                <a:buSzPct val="80000"/>
                <a:defRPr sz="1600"/>
              </a:lvl1pPr>
              <a:lvl2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>
                  <a:solidFill>
                    <a:schemeClr val="bg1"/>
                  </a:solidFill>
                  <a:latin typeface="+mj-lt"/>
                </a:defRPr>
              </a:lvl2pPr>
              <a:lvl3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>
                  <a:solidFill>
                    <a:schemeClr val="bg1"/>
                  </a:solidFill>
                  <a:latin typeface="+mj-lt"/>
                </a:defRPr>
              </a:lvl3pPr>
              <a:lvl4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 baseline="0">
                  <a:solidFill>
                    <a:schemeClr val="bg1"/>
                  </a:solidFill>
                  <a:latin typeface="+mj-lt"/>
                </a:defRPr>
              </a:lvl4pPr>
              <a:lvl5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 baseline="0">
                  <a:solidFill>
                    <a:schemeClr val="bg1"/>
                  </a:solidFill>
                  <a:latin typeface="+mj-lt"/>
                </a:defRPr>
              </a:lvl5pPr>
              <a:lvl6pPr marL="0" indent="0" defTabSz="685800">
                <a:lnSpc>
                  <a:spcPct val="90000"/>
                </a:lnSpc>
                <a:spcBef>
                  <a:spcPts val="600"/>
                </a:spcBef>
                <a:buFont typeface="+mj-lt"/>
                <a:buNone/>
                <a:defRPr sz="1400" cap="all" baseline="0"/>
              </a:lvl6pPr>
              <a:lvl7pPr marL="268288" indent="-268288" defTabSz="685800">
                <a:lnSpc>
                  <a:spcPct val="90000"/>
                </a:lnSpc>
                <a:spcBef>
                  <a:spcPts val="600"/>
                </a:spcBef>
                <a:buFont typeface="+mj-lt"/>
                <a:buAutoNum type="arabicPeriod"/>
                <a:defRPr sz="1400"/>
              </a:lvl7pPr>
              <a:lvl8pPr marL="268288" indent="-268288" defTabSz="685800">
                <a:lnSpc>
                  <a:spcPct val="90000"/>
                </a:lnSpc>
                <a:spcBef>
                  <a:spcPts val="600"/>
                </a:spcBef>
                <a:buFont typeface="+mj-lt"/>
                <a:buAutoNum type="alphaLcPeriod"/>
                <a:defRPr sz="1400"/>
              </a:lvl8pPr>
              <a:lvl9pPr marL="0" indent="0" defTabSz="685800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i="1">
                  <a:solidFill>
                    <a:schemeClr val="bg2"/>
                  </a:solidFill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>
                  <a:srgbClr val="BC448C"/>
                </a:buClr>
                <a:buSzPct val="80000"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1369AF"/>
                  </a:solidFill>
                  <a:effectLst/>
                  <a:uLnTx/>
                  <a:uFillTx/>
                  <a:latin typeface="Arial Black"/>
                </a:rPr>
                <a:t>DIGITAL EXPERIENCE </a:t>
              </a:r>
              <a:b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1369AF"/>
                  </a:solidFill>
                  <a:effectLst/>
                  <a:uLnTx/>
                  <a:uFillTx/>
                  <a:latin typeface="Arial Black"/>
                </a:rPr>
              </a:b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1369AF"/>
                  </a:solidFill>
                  <a:effectLst/>
                  <a:uLnTx/>
                  <a:uFillTx/>
                  <a:latin typeface="Arial Black"/>
                </a:rPr>
                <a:t>&amp; PERFORMANCE</a:t>
              </a:r>
              <a:b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1369AF"/>
                  </a:solidFill>
                  <a:effectLst/>
                  <a:uLnTx/>
                  <a:uFillTx/>
                  <a:latin typeface="Arial Black"/>
                </a:rPr>
              </a:br>
              <a:endPara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1369AF"/>
                </a:solidFill>
                <a:effectLst/>
                <a:uLnTx/>
                <a:uFillTx/>
                <a:latin typeface="Arial Black"/>
              </a:endParaRPr>
            </a:p>
          </p:txBody>
        </p:sp>
        <p:pic>
          <p:nvPicPr>
            <p:cNvPr id="17" name="Afbeelding 16" descr="Afbeelding met tekst&#10;&#10;Automatisch gegenereerde beschrijving">
              <a:hlinkClick r:id="" action="ppaction://noaction"/>
              <a:extLst>
                <a:ext uri="{FF2B5EF4-FFF2-40B4-BE49-F238E27FC236}">
                  <a16:creationId xmlns:a16="http://schemas.microsoft.com/office/drawing/2014/main" id="{6D233168-B7F7-3456-ECF9-7672C3E3570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014287" y="2790329"/>
              <a:ext cx="1134945" cy="379018"/>
            </a:xfrm>
            <a:prstGeom prst="rect">
              <a:avLst/>
            </a:prstGeom>
          </p:spPr>
        </p:pic>
        <p:sp>
          <p:nvSpPr>
            <p:cNvPr id="18" name="Tijdelijke aanduiding voor tekst 18">
              <a:hlinkClick r:id="" action="ppaction://noaction"/>
              <a:extLst>
                <a:ext uri="{FF2B5EF4-FFF2-40B4-BE49-F238E27FC236}">
                  <a16:creationId xmlns:a16="http://schemas.microsoft.com/office/drawing/2014/main" id="{ED909988-61D9-813E-D18D-8DAF80324328}"/>
                </a:ext>
              </a:extLst>
            </p:cNvPr>
            <p:cNvSpPr txBox="1">
              <a:spLocks/>
            </p:cNvSpPr>
            <p:nvPr/>
          </p:nvSpPr>
          <p:spPr>
            <a:xfrm>
              <a:off x="1902428" y="4464937"/>
              <a:ext cx="3049717" cy="950629"/>
            </a:xfrm>
            <a:prstGeom prst="rect">
              <a:avLst/>
            </a:prstGeom>
            <a:solidFill>
              <a:srgbClr val="FFFFFF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108000" tIns="108000" rIns="108000" bIns="0" rtlCol="0" anchor="t" anchorCtr="0">
              <a:noAutofit/>
            </a:bodyPr>
            <a:lstStyle>
              <a:defPPr>
                <a:defRPr lang="nl-NL"/>
              </a:defPPr>
              <a:lvl1pPr>
                <a:lnSpc>
                  <a:spcPct val="90000"/>
                </a:lnSpc>
                <a:spcBef>
                  <a:spcPts val="800"/>
                </a:spcBef>
                <a:buClr>
                  <a:schemeClr val="accent5"/>
                </a:buClr>
                <a:buSzPct val="80000"/>
                <a:defRPr sz="1200">
                  <a:solidFill>
                    <a:schemeClr val="accent2"/>
                  </a:solidFill>
                  <a:latin typeface="+mj-lt"/>
                </a:defRPr>
              </a:lvl1pPr>
              <a:lvl2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>
                  <a:solidFill>
                    <a:schemeClr val="bg1"/>
                  </a:solidFill>
                  <a:latin typeface="+mj-lt"/>
                </a:defRPr>
              </a:lvl2pPr>
              <a:lvl3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>
                  <a:solidFill>
                    <a:schemeClr val="bg1"/>
                  </a:solidFill>
                  <a:latin typeface="+mj-lt"/>
                </a:defRPr>
              </a:lvl3pPr>
              <a:lvl4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 baseline="0">
                  <a:solidFill>
                    <a:schemeClr val="bg1"/>
                  </a:solidFill>
                  <a:latin typeface="+mj-lt"/>
                </a:defRPr>
              </a:lvl4pPr>
              <a:lvl5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 baseline="0">
                  <a:solidFill>
                    <a:schemeClr val="bg1"/>
                  </a:solidFill>
                  <a:latin typeface="+mj-lt"/>
                </a:defRPr>
              </a:lvl5pPr>
              <a:lvl6pPr marL="0" indent="0" defTabSz="685800">
                <a:lnSpc>
                  <a:spcPct val="90000"/>
                </a:lnSpc>
                <a:spcBef>
                  <a:spcPts val="600"/>
                </a:spcBef>
                <a:buFont typeface="+mj-lt"/>
                <a:buNone/>
                <a:defRPr sz="1400" cap="all" baseline="0"/>
              </a:lvl6pPr>
              <a:lvl7pPr marL="268288" indent="-268288" defTabSz="685800">
                <a:lnSpc>
                  <a:spcPct val="90000"/>
                </a:lnSpc>
                <a:spcBef>
                  <a:spcPts val="600"/>
                </a:spcBef>
                <a:buFont typeface="+mj-lt"/>
                <a:buAutoNum type="arabicPeriod"/>
                <a:defRPr sz="1400"/>
              </a:lvl7pPr>
              <a:lvl8pPr marL="268288" indent="-268288" defTabSz="685800">
                <a:lnSpc>
                  <a:spcPct val="90000"/>
                </a:lnSpc>
                <a:spcBef>
                  <a:spcPts val="600"/>
                </a:spcBef>
                <a:buFont typeface="+mj-lt"/>
                <a:buAutoNum type="alphaLcPeriod"/>
                <a:defRPr sz="1400"/>
              </a:lvl8pPr>
              <a:lvl9pPr marL="0" indent="0" defTabSz="685800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i="1">
                  <a:solidFill>
                    <a:schemeClr val="bg2"/>
                  </a:solidFill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>
                  <a:srgbClr val="BC448C"/>
                </a:buClr>
                <a:buSzPct val="80000"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00AAC8"/>
                  </a:solidFill>
                  <a:effectLst/>
                  <a:uLnTx/>
                  <a:uFillTx/>
                  <a:latin typeface="Arial Black"/>
                </a:rPr>
                <a:t>MISSION CRITICAL</a:t>
              </a:r>
            </a:p>
          </p:txBody>
        </p:sp>
        <p:sp>
          <p:nvSpPr>
            <p:cNvPr id="19" name="Tijdelijke aanduiding voor tekst 18">
              <a:hlinkClick r:id="" action="ppaction://noaction"/>
              <a:extLst>
                <a:ext uri="{FF2B5EF4-FFF2-40B4-BE49-F238E27FC236}">
                  <a16:creationId xmlns:a16="http://schemas.microsoft.com/office/drawing/2014/main" id="{7B9895C7-4E65-471B-3A53-5737D04C046F}"/>
                </a:ext>
              </a:extLst>
            </p:cNvPr>
            <p:cNvSpPr txBox="1">
              <a:spLocks/>
            </p:cNvSpPr>
            <p:nvPr/>
          </p:nvSpPr>
          <p:spPr>
            <a:xfrm>
              <a:off x="7077446" y="4718480"/>
              <a:ext cx="3093779" cy="693754"/>
            </a:xfrm>
            <a:prstGeom prst="rect">
              <a:avLst/>
            </a:prstGeom>
            <a:solidFill>
              <a:srgbClr val="FFFFFF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108000" tIns="108000" rIns="108000" bIns="0" rtlCol="0" anchor="t" anchorCtr="0">
              <a:noAutofit/>
            </a:bodyPr>
            <a:lstStyle>
              <a:defPPr>
                <a:defRPr lang="nl-NL"/>
              </a:defPPr>
              <a:lvl1pPr>
                <a:lnSpc>
                  <a:spcPct val="90000"/>
                </a:lnSpc>
                <a:spcBef>
                  <a:spcPts val="800"/>
                </a:spcBef>
                <a:buClr>
                  <a:schemeClr val="accent5"/>
                </a:buClr>
                <a:buSzPct val="80000"/>
                <a:defRPr sz="1200">
                  <a:solidFill>
                    <a:schemeClr val="accent1"/>
                  </a:solidFill>
                  <a:latin typeface="+mj-lt"/>
                </a:defRPr>
              </a:lvl1pPr>
              <a:lvl2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>
                  <a:solidFill>
                    <a:schemeClr val="bg1"/>
                  </a:solidFill>
                  <a:latin typeface="+mj-lt"/>
                </a:defRPr>
              </a:lvl2pPr>
              <a:lvl3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>
                  <a:solidFill>
                    <a:schemeClr val="bg1"/>
                  </a:solidFill>
                  <a:latin typeface="+mj-lt"/>
                </a:defRPr>
              </a:lvl3pPr>
              <a:lvl4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 baseline="0">
                  <a:solidFill>
                    <a:schemeClr val="bg1"/>
                  </a:solidFill>
                  <a:latin typeface="+mj-lt"/>
                </a:defRPr>
              </a:lvl4pPr>
              <a:lvl5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 baseline="0">
                  <a:solidFill>
                    <a:schemeClr val="bg1"/>
                  </a:solidFill>
                  <a:latin typeface="+mj-lt"/>
                </a:defRPr>
              </a:lvl5pPr>
              <a:lvl6pPr marL="0" indent="0" defTabSz="685800">
                <a:lnSpc>
                  <a:spcPct val="90000"/>
                </a:lnSpc>
                <a:spcBef>
                  <a:spcPts val="600"/>
                </a:spcBef>
                <a:buFont typeface="+mj-lt"/>
                <a:buNone/>
                <a:defRPr sz="1400" cap="all" baseline="0"/>
              </a:lvl6pPr>
              <a:lvl7pPr marL="268288" indent="-268288" defTabSz="685800">
                <a:lnSpc>
                  <a:spcPct val="90000"/>
                </a:lnSpc>
                <a:spcBef>
                  <a:spcPts val="600"/>
                </a:spcBef>
                <a:buFont typeface="+mj-lt"/>
                <a:buAutoNum type="arabicPeriod"/>
                <a:defRPr sz="1400"/>
              </a:lvl7pPr>
              <a:lvl8pPr marL="268288" indent="-268288" defTabSz="685800">
                <a:lnSpc>
                  <a:spcPct val="90000"/>
                </a:lnSpc>
                <a:spcBef>
                  <a:spcPts val="600"/>
                </a:spcBef>
                <a:buFont typeface="+mj-lt"/>
                <a:buAutoNum type="alphaLcPeriod"/>
                <a:defRPr sz="1400"/>
              </a:lvl8pPr>
              <a:lvl9pPr marL="0" indent="0" defTabSz="685800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i="1">
                  <a:solidFill>
                    <a:schemeClr val="bg2"/>
                  </a:solidFill>
                </a:defRPr>
              </a:lvl9pPr>
            </a:lstStyle>
            <a:p>
              <a:pPr marL="0" marR="0" lvl="0" indent="0" defTabSz="914377" eaLnBrk="1" fontAlgn="auto" latinLnBrk="0" hangingPunct="1"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>
                  <a:srgbClr val="BC448C"/>
                </a:buClr>
                <a:buSzPct val="80000"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 Black"/>
                </a:rPr>
                <a:t>SMART TECHNOLOGY</a:t>
              </a:r>
            </a:p>
          </p:txBody>
        </p:sp>
        <p:sp>
          <p:nvSpPr>
            <p:cNvPr id="20" name="Tijdelijke aanduiding voor tekst 18">
              <a:hlinkClick r:id="" action="ppaction://noaction"/>
              <a:extLst>
                <a:ext uri="{FF2B5EF4-FFF2-40B4-BE49-F238E27FC236}">
                  <a16:creationId xmlns:a16="http://schemas.microsoft.com/office/drawing/2014/main" id="{06E3EBD1-1854-D24E-A78B-E9E24AA5E80A}"/>
                </a:ext>
              </a:extLst>
            </p:cNvPr>
            <p:cNvSpPr txBox="1">
              <a:spLocks/>
            </p:cNvSpPr>
            <p:nvPr/>
          </p:nvSpPr>
          <p:spPr>
            <a:xfrm>
              <a:off x="5040623" y="3374044"/>
              <a:ext cx="1933190" cy="2045807"/>
            </a:xfrm>
            <a:prstGeom prst="rect">
              <a:avLst/>
            </a:prstGeom>
            <a:solidFill>
              <a:srgbClr val="FFFFFF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108000" tIns="108000" rIns="108000" bIns="0" rtlCol="0" anchor="t" anchorCtr="0">
              <a:noAutofit/>
            </a:bodyPr>
            <a:lstStyle>
              <a:defPPr>
                <a:defRPr lang="nl-NL"/>
              </a:defPPr>
              <a:lvl1pPr>
                <a:lnSpc>
                  <a:spcPct val="90000"/>
                </a:lnSpc>
                <a:spcBef>
                  <a:spcPts val="800"/>
                </a:spcBef>
                <a:buClr>
                  <a:schemeClr val="accent5"/>
                </a:buClr>
                <a:buSzPct val="80000"/>
                <a:defRPr sz="1200">
                  <a:solidFill>
                    <a:schemeClr val="accent6"/>
                  </a:solidFill>
                  <a:latin typeface="+mj-lt"/>
                </a:defRPr>
              </a:lvl1pPr>
              <a:lvl2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>
                  <a:solidFill>
                    <a:schemeClr val="bg1"/>
                  </a:solidFill>
                  <a:latin typeface="+mj-lt"/>
                </a:defRPr>
              </a:lvl2pPr>
              <a:lvl3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>
                  <a:solidFill>
                    <a:schemeClr val="bg1"/>
                  </a:solidFill>
                  <a:latin typeface="+mj-lt"/>
                </a:defRPr>
              </a:lvl3pPr>
              <a:lvl4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 baseline="0">
                  <a:solidFill>
                    <a:schemeClr val="bg1"/>
                  </a:solidFill>
                  <a:latin typeface="+mj-lt"/>
                </a:defRPr>
              </a:lvl4pPr>
              <a:lvl5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 baseline="0">
                  <a:solidFill>
                    <a:schemeClr val="bg1"/>
                  </a:solidFill>
                  <a:latin typeface="+mj-lt"/>
                </a:defRPr>
              </a:lvl5pPr>
              <a:lvl6pPr marL="0" indent="0" defTabSz="685800">
                <a:lnSpc>
                  <a:spcPct val="90000"/>
                </a:lnSpc>
                <a:spcBef>
                  <a:spcPts val="600"/>
                </a:spcBef>
                <a:buFont typeface="+mj-lt"/>
                <a:buNone/>
                <a:defRPr sz="1400" cap="all" baseline="0"/>
              </a:lvl6pPr>
              <a:lvl7pPr marL="268288" indent="-268288" defTabSz="685800">
                <a:lnSpc>
                  <a:spcPct val="90000"/>
                </a:lnSpc>
                <a:spcBef>
                  <a:spcPts val="600"/>
                </a:spcBef>
                <a:buFont typeface="+mj-lt"/>
                <a:buAutoNum type="arabicPeriod"/>
                <a:defRPr sz="1400"/>
              </a:lvl7pPr>
              <a:lvl8pPr marL="268288" indent="-268288" defTabSz="685800">
                <a:lnSpc>
                  <a:spcPct val="90000"/>
                </a:lnSpc>
                <a:spcBef>
                  <a:spcPts val="600"/>
                </a:spcBef>
                <a:buFont typeface="+mj-lt"/>
                <a:buAutoNum type="alphaLcPeriod"/>
                <a:defRPr sz="1400"/>
              </a:lvl8pPr>
              <a:lvl9pPr marL="0" indent="0" defTabSz="685800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i="1">
                  <a:solidFill>
                    <a:schemeClr val="bg2"/>
                  </a:solidFill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>
                  <a:srgbClr val="BC448C"/>
                </a:buClr>
                <a:buSzPct val="80000"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5A3F8C"/>
                  </a:solidFill>
                  <a:effectLst/>
                  <a:uLnTx/>
                  <a:uFillTx/>
                  <a:latin typeface="Arial Black"/>
                </a:rPr>
                <a:t>CLOUD NATIVE </a:t>
              </a:r>
              <a:b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5A3F8C"/>
                  </a:solidFill>
                  <a:effectLst/>
                  <a:uLnTx/>
                  <a:uFillTx/>
                  <a:latin typeface="Arial Black"/>
                </a:rPr>
              </a:b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5A3F8C"/>
                  </a:solidFill>
                  <a:effectLst/>
                  <a:uLnTx/>
                  <a:uFillTx/>
                  <a:latin typeface="Arial Black"/>
                </a:rPr>
                <a:t>ENTERPRISE</a:t>
              </a:r>
            </a:p>
            <a:p>
              <a:pPr marL="0" marR="0" lvl="0" indent="0" defTabSz="914377" eaLnBrk="1" fontAlgn="auto" latinLnBrk="0" hangingPunct="1"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>
                  <a:srgbClr val="BC448C"/>
                </a:buClr>
                <a:buSzPct val="80000"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AAC8"/>
                </a:solidFill>
                <a:effectLst/>
                <a:uLnTx/>
                <a:uFillTx/>
                <a:latin typeface="Arial Black"/>
              </a:endParaRPr>
            </a:p>
          </p:txBody>
        </p:sp>
        <p:pic>
          <p:nvPicPr>
            <p:cNvPr id="21" name="Picture 2" descr="TAG: Conclusion Enablement - Persberichten.com">
              <a:extLst>
                <a:ext uri="{FF2B5EF4-FFF2-40B4-BE49-F238E27FC236}">
                  <a16:creationId xmlns:a16="http://schemas.microsoft.com/office/drawing/2014/main" id="{2C803050-D211-E3C2-6255-A062D36E27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66911" y="3950103"/>
              <a:ext cx="827791" cy="2023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Tijdelijke aanduiding voor tekst 18">
              <a:hlinkClick r:id="" action="ppaction://noaction"/>
              <a:extLst>
                <a:ext uri="{FF2B5EF4-FFF2-40B4-BE49-F238E27FC236}">
                  <a16:creationId xmlns:a16="http://schemas.microsoft.com/office/drawing/2014/main" id="{5E40FDA9-317A-3274-54BD-2B53A247F953}"/>
                </a:ext>
              </a:extLst>
            </p:cNvPr>
            <p:cNvSpPr txBox="1">
              <a:spLocks/>
            </p:cNvSpPr>
            <p:nvPr/>
          </p:nvSpPr>
          <p:spPr>
            <a:xfrm>
              <a:off x="7080794" y="3375794"/>
              <a:ext cx="3090430" cy="1261579"/>
            </a:xfrm>
            <a:prstGeom prst="rect">
              <a:avLst/>
            </a:prstGeom>
            <a:solidFill>
              <a:srgbClr val="FFFFFF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108000" tIns="108000" rIns="108000" bIns="0" rtlCol="0" anchor="t" anchorCtr="0">
              <a:noAutofit/>
            </a:bodyPr>
            <a:lstStyle>
              <a:defPPr>
                <a:defRPr lang="nl-NL"/>
              </a:defPPr>
              <a:lvl1pPr>
                <a:lnSpc>
                  <a:spcPct val="90000"/>
                </a:lnSpc>
                <a:spcBef>
                  <a:spcPts val="800"/>
                </a:spcBef>
                <a:buClr>
                  <a:schemeClr val="accent5"/>
                </a:buClr>
                <a:buSzPct val="80000"/>
                <a:defRPr sz="1200">
                  <a:solidFill>
                    <a:schemeClr val="accent2"/>
                  </a:solidFill>
                  <a:latin typeface="+mj-lt"/>
                </a:defRPr>
              </a:lvl1pPr>
              <a:lvl2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>
                  <a:solidFill>
                    <a:schemeClr val="bg1"/>
                  </a:solidFill>
                  <a:latin typeface="+mj-lt"/>
                </a:defRPr>
              </a:lvl2pPr>
              <a:lvl3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>
                  <a:solidFill>
                    <a:schemeClr val="bg1"/>
                  </a:solidFill>
                  <a:latin typeface="+mj-lt"/>
                </a:defRPr>
              </a:lvl3pPr>
              <a:lvl4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 baseline="0">
                  <a:solidFill>
                    <a:schemeClr val="bg1"/>
                  </a:solidFill>
                  <a:latin typeface="+mj-lt"/>
                </a:defRPr>
              </a:lvl4pPr>
              <a:lvl5pPr marL="0" indent="0" defTabSz="68580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cap="all" baseline="0">
                  <a:solidFill>
                    <a:schemeClr val="bg1"/>
                  </a:solidFill>
                  <a:latin typeface="+mj-lt"/>
                </a:defRPr>
              </a:lvl5pPr>
              <a:lvl6pPr marL="0" indent="0" defTabSz="685800">
                <a:lnSpc>
                  <a:spcPct val="90000"/>
                </a:lnSpc>
                <a:spcBef>
                  <a:spcPts val="600"/>
                </a:spcBef>
                <a:buFont typeface="+mj-lt"/>
                <a:buNone/>
                <a:defRPr sz="1400" cap="all" baseline="0"/>
              </a:lvl6pPr>
              <a:lvl7pPr marL="268288" indent="-268288" defTabSz="685800">
                <a:lnSpc>
                  <a:spcPct val="90000"/>
                </a:lnSpc>
                <a:spcBef>
                  <a:spcPts val="600"/>
                </a:spcBef>
                <a:buFont typeface="+mj-lt"/>
                <a:buAutoNum type="arabicPeriod"/>
                <a:defRPr sz="1400"/>
              </a:lvl7pPr>
              <a:lvl8pPr marL="268288" indent="-268288" defTabSz="685800">
                <a:lnSpc>
                  <a:spcPct val="90000"/>
                </a:lnSpc>
                <a:spcBef>
                  <a:spcPts val="600"/>
                </a:spcBef>
                <a:buFont typeface="+mj-lt"/>
                <a:buAutoNum type="alphaLcPeriod"/>
                <a:defRPr sz="1400"/>
              </a:lvl8pPr>
              <a:lvl9pPr marL="0" indent="0" defTabSz="685800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100" i="1">
                  <a:solidFill>
                    <a:schemeClr val="bg2"/>
                  </a:solidFill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>
                  <a:srgbClr val="BC448C"/>
                </a:buClr>
                <a:buSzPct val="80000"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srgbClr val="1369AF"/>
                  </a:solidFill>
                  <a:effectLst/>
                  <a:uLnTx/>
                  <a:uFillTx/>
                  <a:latin typeface="Arial Black"/>
                </a:rPr>
                <a:t>ENTERPRISE APPLICATIONS</a:t>
              </a:r>
            </a:p>
          </p:txBody>
        </p:sp>
        <p:pic>
          <p:nvPicPr>
            <p:cNvPr id="24" name="Afbeelding 23">
              <a:hlinkClick r:id="" action="ppaction://noaction"/>
              <a:extLst>
                <a:ext uri="{FF2B5EF4-FFF2-40B4-BE49-F238E27FC236}">
                  <a16:creationId xmlns:a16="http://schemas.microsoft.com/office/drawing/2014/main" id="{D1A7A37F-3CFC-949F-2272-99269DDF9A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186475" y="3726558"/>
              <a:ext cx="733522" cy="341467"/>
            </a:xfrm>
            <a:prstGeom prst="rect">
              <a:avLst/>
            </a:prstGeom>
          </p:spPr>
        </p:pic>
        <p:pic>
          <p:nvPicPr>
            <p:cNvPr id="25" name="Afbeelding 24">
              <a:hlinkClick r:id="" action="ppaction://noaction"/>
              <a:extLst>
                <a:ext uri="{FF2B5EF4-FFF2-40B4-BE49-F238E27FC236}">
                  <a16:creationId xmlns:a16="http://schemas.microsoft.com/office/drawing/2014/main" id="{CE35DB48-2932-024C-1944-755BC6FA1D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rcRect/>
            <a:stretch/>
          </p:blipFill>
          <p:spPr>
            <a:xfrm>
              <a:off x="8513808" y="4326400"/>
              <a:ext cx="689127" cy="174359"/>
            </a:xfrm>
            <a:prstGeom prst="rect">
              <a:avLst/>
            </a:prstGeom>
          </p:spPr>
        </p:pic>
        <p:pic>
          <p:nvPicPr>
            <p:cNvPr id="26" name="Afbeelding 56">
              <a:hlinkClick r:id="" action="ppaction://noaction"/>
              <a:extLst>
                <a:ext uri="{FF2B5EF4-FFF2-40B4-BE49-F238E27FC236}">
                  <a16:creationId xmlns:a16="http://schemas.microsoft.com/office/drawing/2014/main" id="{693F7FD0-BB31-DE50-4C50-C0C797227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8495340" y="4010747"/>
              <a:ext cx="964905" cy="185285"/>
            </a:xfrm>
            <a:prstGeom prst="rect">
              <a:avLst/>
            </a:prstGeom>
          </p:spPr>
        </p:pic>
        <p:pic>
          <p:nvPicPr>
            <p:cNvPr id="27" name="Afbeelding 26">
              <a:hlinkClick r:id="" action="ppaction://noaction"/>
              <a:extLst>
                <a:ext uri="{FF2B5EF4-FFF2-40B4-BE49-F238E27FC236}">
                  <a16:creationId xmlns:a16="http://schemas.microsoft.com/office/drawing/2014/main" id="{1647804B-CE8B-BBA3-605D-DC583CC955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rcRect/>
            <a:stretch/>
          </p:blipFill>
          <p:spPr>
            <a:xfrm>
              <a:off x="8491463" y="3742015"/>
              <a:ext cx="1130492" cy="176293"/>
            </a:xfrm>
            <a:prstGeom prst="rect">
              <a:avLst/>
            </a:prstGeom>
          </p:spPr>
        </p:pic>
        <p:pic>
          <p:nvPicPr>
            <p:cNvPr id="28" name="Afbeelding 27">
              <a:hlinkClick r:id="" action="ppaction://noaction"/>
              <a:extLst>
                <a:ext uri="{FF2B5EF4-FFF2-40B4-BE49-F238E27FC236}">
                  <a16:creationId xmlns:a16="http://schemas.microsoft.com/office/drawing/2014/main" id="{1307B1ED-4F00-9C68-2583-9B056BBE4F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78130" y="1870744"/>
              <a:ext cx="1011755" cy="211731"/>
            </a:xfrm>
            <a:prstGeom prst="rect">
              <a:avLst/>
            </a:prstGeom>
          </p:spPr>
        </p:pic>
        <p:pic>
          <p:nvPicPr>
            <p:cNvPr id="29" name="Afbeelding 55" descr="Afbeelding met tekst, illustratie&#10;&#10;Automatisch gegenereerde beschrijving">
              <a:hlinkClick r:id="" action="ppaction://noaction"/>
              <a:extLst>
                <a:ext uri="{FF2B5EF4-FFF2-40B4-BE49-F238E27FC236}">
                  <a16:creationId xmlns:a16="http://schemas.microsoft.com/office/drawing/2014/main" id="{C6BA3157-138C-626E-11E4-298B8FF3458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7186475" y="5058285"/>
              <a:ext cx="690732" cy="174359"/>
            </a:xfrm>
            <a:prstGeom prst="rect">
              <a:avLst/>
            </a:prstGeom>
          </p:spPr>
        </p:pic>
        <p:pic>
          <p:nvPicPr>
            <p:cNvPr id="30" name="Afbeelding 29">
              <a:hlinkClick r:id="" action="ppaction://noaction"/>
              <a:extLst>
                <a:ext uri="{FF2B5EF4-FFF2-40B4-BE49-F238E27FC236}">
                  <a16:creationId xmlns:a16="http://schemas.microsoft.com/office/drawing/2014/main" id="{07239581-2BDC-0B92-D03F-8F0865BB01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5171071" y="4276417"/>
              <a:ext cx="823631" cy="220615"/>
            </a:xfrm>
            <a:prstGeom prst="rect">
              <a:avLst/>
            </a:prstGeom>
          </p:spPr>
        </p:pic>
        <p:pic>
          <p:nvPicPr>
            <p:cNvPr id="31" name="Afbeelding 30">
              <a:hlinkClick r:id="" action="ppaction://noaction"/>
              <a:extLst>
                <a:ext uri="{FF2B5EF4-FFF2-40B4-BE49-F238E27FC236}">
                  <a16:creationId xmlns:a16="http://schemas.microsoft.com/office/drawing/2014/main" id="{C4E22D4B-22CA-EF6D-A753-E8D1225A42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/>
            <a:srcRect l="1" t="1" r="-35489" b="-46867"/>
            <a:stretch/>
          </p:blipFill>
          <p:spPr>
            <a:xfrm>
              <a:off x="8687450" y="2736523"/>
              <a:ext cx="1030970" cy="258799"/>
            </a:xfrm>
            <a:prstGeom prst="rect">
              <a:avLst/>
            </a:prstGeom>
          </p:spPr>
        </p:pic>
        <p:pic>
          <p:nvPicPr>
            <p:cNvPr id="32" name="Afbeelding 31">
              <a:extLst>
                <a:ext uri="{FF2B5EF4-FFF2-40B4-BE49-F238E27FC236}">
                  <a16:creationId xmlns:a16="http://schemas.microsoft.com/office/drawing/2014/main" id="{F74B8AED-174F-9C05-DFA6-EE1832108E0F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2878" y="2905237"/>
              <a:ext cx="683310" cy="323155"/>
            </a:xfrm>
            <a:prstGeom prst="rect">
              <a:avLst/>
            </a:prstGeom>
          </p:spPr>
        </p:pic>
        <p:pic>
          <p:nvPicPr>
            <p:cNvPr id="33" name="Afbeelding 32" descr="Afbeelding met tekst, clipart&#10;&#10;Automatisch gegenereerde beschrijving">
              <a:extLst>
                <a:ext uri="{FF2B5EF4-FFF2-40B4-BE49-F238E27FC236}">
                  <a16:creationId xmlns:a16="http://schemas.microsoft.com/office/drawing/2014/main" id="{B4F9C368-8A67-AC78-8F99-2BC333628F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76781" y="2636404"/>
              <a:ext cx="953003" cy="208192"/>
            </a:xfrm>
            <a:prstGeom prst="rect">
              <a:avLst/>
            </a:prstGeom>
          </p:spPr>
        </p:pic>
        <p:pic>
          <p:nvPicPr>
            <p:cNvPr id="34" name="Afbeelding 33" descr="Afbeelding met tekst, clipart&#10;&#10;Automatisch gegenereerde beschrijving">
              <a:extLst>
                <a:ext uri="{FF2B5EF4-FFF2-40B4-BE49-F238E27FC236}">
                  <a16:creationId xmlns:a16="http://schemas.microsoft.com/office/drawing/2014/main" id="{C1210429-EA67-651C-91B7-BB8B510AC5C8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06814" y="2661697"/>
              <a:ext cx="692883" cy="288847"/>
            </a:xfrm>
            <a:prstGeom prst="rect">
              <a:avLst/>
            </a:prstGeom>
          </p:spPr>
        </p:pic>
        <p:pic>
          <p:nvPicPr>
            <p:cNvPr id="35" name="Afbeelding 34" descr="Afbeelding met tekst, clipart&#10;&#10;Automatisch gegenereerde beschrijving">
              <a:extLst>
                <a:ext uri="{FF2B5EF4-FFF2-40B4-BE49-F238E27FC236}">
                  <a16:creationId xmlns:a16="http://schemas.microsoft.com/office/drawing/2014/main" id="{B39B4D77-A4BF-C775-95BB-4E866331D506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67882" y="3856213"/>
              <a:ext cx="670821" cy="337958"/>
            </a:xfrm>
            <a:prstGeom prst="rect">
              <a:avLst/>
            </a:prstGeom>
          </p:spPr>
        </p:pic>
        <p:pic>
          <p:nvPicPr>
            <p:cNvPr id="36" name="Picture 6" descr="A picture containing text, sign, clipart&#10;&#10;Description automatically generated">
              <a:extLst>
                <a:ext uri="{FF2B5EF4-FFF2-40B4-BE49-F238E27FC236}">
                  <a16:creationId xmlns:a16="http://schemas.microsoft.com/office/drawing/2014/main" id="{989960A7-2129-54EE-F560-7FB473B2B4F9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212893" y="2931810"/>
              <a:ext cx="694117" cy="339674"/>
            </a:xfrm>
            <a:prstGeom prst="rect">
              <a:avLst/>
            </a:prstGeom>
          </p:spPr>
        </p:pic>
        <p:pic>
          <p:nvPicPr>
            <p:cNvPr id="37" name="Picture 6" descr="A picture containing text, tableware, dishware, plate&#10;&#10;Description automatically generated">
              <a:extLst>
                <a:ext uri="{FF2B5EF4-FFF2-40B4-BE49-F238E27FC236}">
                  <a16:creationId xmlns:a16="http://schemas.microsoft.com/office/drawing/2014/main" id="{423046D8-C385-34A5-CF95-1DC3BB90B8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7222091" y="4181442"/>
              <a:ext cx="662288" cy="319317"/>
            </a:xfrm>
            <a:prstGeom prst="rect">
              <a:avLst/>
            </a:prstGeom>
          </p:spPr>
        </p:pic>
        <p:pic>
          <p:nvPicPr>
            <p:cNvPr id="38" name="Afbeelding 37" descr="Afbeelding met logo&#10;&#10;Automatisch gegenereerde beschrijving">
              <a:extLst>
                <a:ext uri="{FF2B5EF4-FFF2-40B4-BE49-F238E27FC236}">
                  <a16:creationId xmlns:a16="http://schemas.microsoft.com/office/drawing/2014/main" id="{8B92319B-C8DD-FB5E-2F30-F978A6A825F3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33117" y="4889407"/>
              <a:ext cx="1019980" cy="176000"/>
            </a:xfrm>
            <a:prstGeom prst="rect">
              <a:avLst/>
            </a:prstGeom>
          </p:spPr>
        </p:pic>
        <p:pic>
          <p:nvPicPr>
            <p:cNvPr id="39" name="Afbeelding 38" descr="Afbeelding met tekst, Lettertype, schermopname, Graphics&#10;&#10;Automatisch gegenereerde beschrijving">
              <a:extLst>
                <a:ext uri="{FF2B5EF4-FFF2-40B4-BE49-F238E27FC236}">
                  <a16:creationId xmlns:a16="http://schemas.microsoft.com/office/drawing/2014/main" id="{AD9B86E4-9DB7-ECEE-D4B0-D98E7E3B340B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33117" y="3823519"/>
              <a:ext cx="678008" cy="370652"/>
            </a:xfrm>
            <a:prstGeom prst="rect">
              <a:avLst/>
            </a:prstGeom>
          </p:spPr>
        </p:pic>
        <p:pic>
          <p:nvPicPr>
            <p:cNvPr id="40" name="Afbeelding 39" descr="Afbeelding met duisternis, Karmijn, rood, silhouet&#10;&#10;Automatisch gegenereerde beschrijving">
              <a:extLst>
                <a:ext uri="{FF2B5EF4-FFF2-40B4-BE49-F238E27FC236}">
                  <a16:creationId xmlns:a16="http://schemas.microsoft.com/office/drawing/2014/main" id="{C973E5D0-5A9A-0853-EBF1-7DDD51D41EF4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62533" y="2429496"/>
              <a:ext cx="996561" cy="598021"/>
            </a:xfrm>
            <a:prstGeom prst="rect">
              <a:avLst/>
            </a:prstGeom>
          </p:spPr>
        </p:pic>
        <p:pic>
          <p:nvPicPr>
            <p:cNvPr id="41" name="Afbeelding 40" descr="Afbeelding met Kleurrijkheid, schermopname, ontwerp&#10;&#10;Automatisch gegenereerde beschrijving">
              <a:hlinkClick r:id="" action="ppaction://noaction"/>
              <a:extLst>
                <a:ext uri="{FF2B5EF4-FFF2-40B4-BE49-F238E27FC236}">
                  <a16:creationId xmlns:a16="http://schemas.microsoft.com/office/drawing/2014/main" id="{92B910EC-E3CC-0E17-DD70-492F4CC0962D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15724" y="1642303"/>
              <a:ext cx="658171" cy="383795"/>
            </a:xfrm>
            <a:prstGeom prst="rect">
              <a:avLst/>
            </a:prstGeom>
          </p:spPr>
        </p:pic>
        <p:sp>
          <p:nvSpPr>
            <p:cNvPr id="43" name="TextBox 97">
              <a:extLst>
                <a:ext uri="{FF2B5EF4-FFF2-40B4-BE49-F238E27FC236}">
                  <a16:creationId xmlns:a16="http://schemas.microsoft.com/office/drawing/2014/main" id="{B750545A-CCD5-BDE6-34B7-850D7A266810}"/>
                </a:ext>
              </a:extLst>
            </p:cNvPr>
            <p:cNvSpPr txBox="1"/>
            <p:nvPr/>
          </p:nvSpPr>
          <p:spPr>
            <a:xfrm>
              <a:off x="338500" y="2210510"/>
              <a:ext cx="1453056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r" defTabSz="914377" rtl="0" eaLnBrk="1" fontAlgn="auto" latinLnBrk="0" hangingPunct="1">
                <a:lnSpc>
                  <a:spcPct val="100000"/>
                </a:lnSpc>
                <a:spcAft>
                  <a:spcPts val="0"/>
                </a:spcAft>
                <a:buClr>
                  <a:srgbClr val="44546A"/>
                </a:buClr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Open Sans" panose="020B0606030504020204" pitchFamily="34" charset="0"/>
                </a:rPr>
                <a:t>IMPROVE </a:t>
              </a:r>
            </a:p>
            <a:p>
              <a:pPr marL="0" marR="0" lvl="0" indent="0" algn="r" defTabSz="914377" rtl="0" eaLnBrk="1" fontAlgn="auto" latinLnBrk="0" hangingPunct="1">
                <a:lnSpc>
                  <a:spcPct val="100000"/>
                </a:lnSpc>
                <a:spcAft>
                  <a:spcPts val="0"/>
                </a:spcAft>
                <a:buClr>
                  <a:srgbClr val="44546A"/>
                </a:buClr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Open Sans" panose="020B0606030504020204" pitchFamily="34" charset="0"/>
                </a:rPr>
                <a:t>/ CREATE</a:t>
              </a:r>
            </a:p>
          </p:txBody>
        </p:sp>
        <p:sp>
          <p:nvSpPr>
            <p:cNvPr id="44" name="TextBox 97">
              <a:extLst>
                <a:ext uri="{FF2B5EF4-FFF2-40B4-BE49-F238E27FC236}">
                  <a16:creationId xmlns:a16="http://schemas.microsoft.com/office/drawing/2014/main" id="{72E112A8-474E-40CC-AC2D-7B54A1132CA6}"/>
                </a:ext>
              </a:extLst>
            </p:cNvPr>
            <p:cNvSpPr txBox="1"/>
            <p:nvPr/>
          </p:nvSpPr>
          <p:spPr>
            <a:xfrm>
              <a:off x="832016" y="2033537"/>
              <a:ext cx="96981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/>
                  <a:ea typeface="Open Sans" panose="020B0606030504020204" pitchFamily="34" charset="0"/>
                  <a:cs typeface="Open Sans" panose="020B0606030504020204" pitchFamily="34" charset="0"/>
                </a:rPr>
                <a:t> DISTINCTIVE</a:t>
              </a:r>
            </a:p>
          </p:txBody>
        </p:sp>
        <p:sp>
          <p:nvSpPr>
            <p:cNvPr id="45" name="TextBox 97">
              <a:extLst>
                <a:ext uri="{FF2B5EF4-FFF2-40B4-BE49-F238E27FC236}">
                  <a16:creationId xmlns:a16="http://schemas.microsoft.com/office/drawing/2014/main" id="{7F72987C-FC8E-B75E-E454-B1F1E6FD2AC0}"/>
                </a:ext>
              </a:extLst>
            </p:cNvPr>
            <p:cNvSpPr txBox="1"/>
            <p:nvPr/>
          </p:nvSpPr>
          <p:spPr>
            <a:xfrm>
              <a:off x="879753" y="3863581"/>
              <a:ext cx="923330" cy="30777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377" rtl="0" eaLnBrk="1" fontAlgn="auto" latinLnBrk="0" hangingPunct="1">
                <a:lnSpc>
                  <a:spcPct val="100000"/>
                </a:lnSpc>
                <a:spcAft>
                  <a:spcPts val="0"/>
                </a:spcAft>
                <a:buClr>
                  <a:srgbClr val="44546A"/>
                </a:buClr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1200" cap="none" spc="0" normalizeH="0" baseline="0" noProof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Open Sans" panose="020B0606030504020204" pitchFamily="34" charset="0"/>
                </a:rPr>
                <a:t>CONNECT </a:t>
              </a:r>
            </a:p>
            <a:p>
              <a:pPr marL="0" marR="0" lvl="0" indent="0" algn="r" defTabSz="914377" rtl="0" eaLnBrk="1" fontAlgn="auto" latinLnBrk="0" hangingPunct="1">
                <a:lnSpc>
                  <a:spcPct val="100000"/>
                </a:lnSpc>
                <a:spcAft>
                  <a:spcPts val="0"/>
                </a:spcAft>
                <a:buClr>
                  <a:srgbClr val="44546A"/>
                </a:buClr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1200" cap="none" spc="0" normalizeH="0" baseline="0" noProof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Open Sans" panose="020B0606030504020204" pitchFamily="34" charset="0"/>
                </a:rPr>
                <a:t>/ ACCELERATE</a:t>
              </a:r>
            </a:p>
          </p:txBody>
        </p:sp>
        <p:sp>
          <p:nvSpPr>
            <p:cNvPr id="46" name="TextBox 98">
              <a:extLst>
                <a:ext uri="{FF2B5EF4-FFF2-40B4-BE49-F238E27FC236}">
                  <a16:creationId xmlns:a16="http://schemas.microsoft.com/office/drawing/2014/main" id="{11ECD9CD-24E5-08B6-99F4-5DA588798963}"/>
                </a:ext>
              </a:extLst>
            </p:cNvPr>
            <p:cNvSpPr txBox="1"/>
            <p:nvPr/>
          </p:nvSpPr>
          <p:spPr>
            <a:xfrm>
              <a:off x="1306823" y="3672537"/>
              <a:ext cx="477695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1200" cap="none" spc="0" normalizeH="0" baseline="0" noProof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 Black"/>
                  <a:ea typeface="Open Sans" panose="020B0606030504020204" pitchFamily="34" charset="0"/>
                  <a:cs typeface="Open Sans" panose="020B0606030504020204" pitchFamily="34" charset="0"/>
                </a:rPr>
                <a:t> AGILE</a:t>
              </a:r>
            </a:p>
          </p:txBody>
        </p:sp>
        <p:sp>
          <p:nvSpPr>
            <p:cNvPr id="47" name="TextBox 98">
              <a:extLst>
                <a:ext uri="{FF2B5EF4-FFF2-40B4-BE49-F238E27FC236}">
                  <a16:creationId xmlns:a16="http://schemas.microsoft.com/office/drawing/2014/main" id="{4F969C1A-DE8E-E2A4-089D-D6D85B1CC29F}"/>
                </a:ext>
              </a:extLst>
            </p:cNvPr>
            <p:cNvSpPr txBox="1"/>
            <p:nvPr/>
          </p:nvSpPr>
          <p:spPr>
            <a:xfrm>
              <a:off x="1035766" y="4747103"/>
              <a:ext cx="763029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4546A"/>
                </a:buClr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1200" cap="none" spc="0" normalizeH="0" baseline="0" noProof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 Black"/>
                  <a:ea typeface="Open Sans" panose="020B0606030504020204" pitchFamily="34" charset="0"/>
                  <a:cs typeface="Open Sans" panose="020B0606030504020204" pitchFamily="34" charset="0"/>
                </a:rPr>
                <a:t>RESILIENT</a:t>
              </a:r>
            </a:p>
          </p:txBody>
        </p:sp>
        <p:sp>
          <p:nvSpPr>
            <p:cNvPr id="48" name="TextBox 97">
              <a:extLst>
                <a:ext uri="{FF2B5EF4-FFF2-40B4-BE49-F238E27FC236}">
                  <a16:creationId xmlns:a16="http://schemas.microsoft.com/office/drawing/2014/main" id="{0A03ED7F-9BD9-C76C-1B84-9F822301B634}"/>
                </a:ext>
              </a:extLst>
            </p:cNvPr>
            <p:cNvSpPr txBox="1"/>
            <p:nvPr/>
          </p:nvSpPr>
          <p:spPr>
            <a:xfrm>
              <a:off x="840051" y="4924686"/>
              <a:ext cx="953786" cy="30777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r" defTabSz="914377" rtl="0" eaLnBrk="1" fontAlgn="auto" latinLnBrk="0" hangingPunct="1">
                <a:lnSpc>
                  <a:spcPct val="100000"/>
                </a:lnSpc>
                <a:spcAft>
                  <a:spcPts val="0"/>
                </a:spcAft>
                <a:buClr>
                  <a:srgbClr val="44546A"/>
                </a:buClr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1200" cap="none" spc="0" normalizeH="0" baseline="0" noProof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Open Sans" panose="020B0606030504020204" pitchFamily="34" charset="0"/>
                </a:rPr>
                <a:t>SIMPLIFY </a:t>
              </a:r>
            </a:p>
            <a:p>
              <a:pPr marL="0" marR="0" lvl="0" indent="0" algn="r" defTabSz="914377" rtl="0" eaLnBrk="1" fontAlgn="auto" latinLnBrk="0" hangingPunct="1">
                <a:lnSpc>
                  <a:spcPct val="100000"/>
                </a:lnSpc>
                <a:spcAft>
                  <a:spcPts val="0"/>
                </a:spcAft>
                <a:buClr>
                  <a:srgbClr val="44546A"/>
                </a:buClr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1200" cap="none" spc="0" normalizeH="0" baseline="0" noProof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Open Sans" panose="020B0606030504020204" pitchFamily="34" charset="0"/>
                </a:rPr>
                <a:t>/ STRENGTH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59799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33073BA-6013-1AF3-7218-93A97C22B9DF}"/>
              </a:ext>
            </a:extLst>
          </p:cNvPr>
          <p:cNvSpPr/>
          <p:nvPr/>
        </p:nvSpPr>
        <p:spPr>
          <a:xfrm>
            <a:off x="1" y="2857"/>
            <a:ext cx="11520487" cy="5812314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9" tIns="35999" rIns="35999" bIns="359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3949">
              <a:buClr>
                <a:srgbClr val="4AC300"/>
              </a:buClr>
            </a:pPr>
            <a:endParaRPr lang="en-GB" sz="280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TextBox 80">
            <a:extLst>
              <a:ext uri="{FF2B5EF4-FFF2-40B4-BE49-F238E27FC236}">
                <a16:creationId xmlns:a16="http://schemas.microsoft.com/office/drawing/2014/main" id="{9D623F99-AE4F-0C07-EDF4-11B598F80891}"/>
              </a:ext>
            </a:extLst>
          </p:cNvPr>
          <p:cNvSpPr txBox="1"/>
          <p:nvPr/>
        </p:nvSpPr>
        <p:spPr>
          <a:xfrm>
            <a:off x="472833" y="311061"/>
            <a:ext cx="4243529" cy="707886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 marR="0" lvl="0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40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Introductie</a:t>
            </a:r>
            <a:endParaRPr lang="nl-NL" sz="1800" kern="0" noProof="1">
              <a:solidFill>
                <a:srgbClr val="F3FBF7"/>
              </a:solidFill>
              <a:latin typeface="Montserrat" panose="00000500000000000000" pitchFamily="2" charset="0"/>
            </a:endParaRP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B7DC6C2E-5713-9307-5F56-6DF891373C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688" y="6119725"/>
            <a:ext cx="431800" cy="360362"/>
          </a:xfrm>
        </p:spPr>
        <p:txBody>
          <a:bodyPr/>
          <a:lstStyle/>
          <a:p>
            <a:pPr marL="0" marR="0" lvl="0" indent="0" algn="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82D01A-ED25-4F30-894A-E32B487BCBA5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F4F6F8">
                    <a:lumMod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pPr marL="0" marR="0" lvl="0" indent="0" algn="r" defTabSz="8639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F4F6F8">
                  <a:lumMod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7BE9F53E-EDE7-EB9E-B400-19A1514B833F}"/>
              </a:ext>
            </a:extLst>
          </p:cNvPr>
          <p:cNvSpPr/>
          <p:nvPr/>
        </p:nvSpPr>
        <p:spPr>
          <a:xfrm>
            <a:off x="244" y="5804413"/>
            <a:ext cx="11520488" cy="67558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3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C300"/>
              </a:buClr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err="1">
              <a:ln>
                <a:noFill/>
              </a:ln>
              <a:solidFill>
                <a:srgbClr val="555C6B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7CA63EE-9CA2-C02E-CC18-64EC87496BE9}"/>
              </a:ext>
            </a:extLst>
          </p:cNvPr>
          <p:cNvSpPr txBox="1">
            <a:spLocks/>
          </p:cNvSpPr>
          <p:nvPr/>
        </p:nvSpPr>
        <p:spPr>
          <a:xfrm>
            <a:off x="125480" y="5917710"/>
            <a:ext cx="7409986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</a:t>
            </a:r>
            <a:r>
              <a:rPr kumimoji="0" lang="nl-NL" sz="2400" b="1" i="0" u="none" strike="noStrike" kern="1200" cap="all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BeYOND</a:t>
            </a: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A17646D5-B274-4165-E1CD-82147BA7071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9" name="Picture 2" descr="Nationale Coalitie Duurzame Digitalisering">
            <a:extLst>
              <a:ext uri="{FF2B5EF4-FFF2-40B4-BE49-F238E27FC236}">
                <a16:creationId xmlns:a16="http://schemas.microsoft.com/office/drawing/2014/main" id="{A445F8F6-2E90-4B68-86CE-071121FC53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Boog 4">
            <a:extLst>
              <a:ext uri="{FF2B5EF4-FFF2-40B4-BE49-F238E27FC236}">
                <a16:creationId xmlns:a16="http://schemas.microsoft.com/office/drawing/2014/main" id="{035588B4-8ADE-B29A-0273-E4498E060BDC}"/>
              </a:ext>
            </a:extLst>
          </p:cNvPr>
          <p:cNvSpPr/>
          <p:nvPr/>
        </p:nvSpPr>
        <p:spPr>
          <a:xfrm>
            <a:off x="-2823256" y="1515060"/>
            <a:ext cx="7479792" cy="8857239"/>
          </a:xfrm>
          <a:prstGeom prst="arc">
            <a:avLst>
              <a:gd name="adj1" fmla="val 16660184"/>
              <a:gd name="adj2" fmla="val 21356646"/>
            </a:avLst>
          </a:prstGeom>
          <a:ln w="57150" cap="rnd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Boog 7">
            <a:extLst>
              <a:ext uri="{FF2B5EF4-FFF2-40B4-BE49-F238E27FC236}">
                <a16:creationId xmlns:a16="http://schemas.microsoft.com/office/drawing/2014/main" id="{EFB95225-C25C-9D9C-EB35-F1387E7FC538}"/>
              </a:ext>
            </a:extLst>
          </p:cNvPr>
          <p:cNvSpPr/>
          <p:nvPr/>
        </p:nvSpPr>
        <p:spPr>
          <a:xfrm flipH="1">
            <a:off x="7535465" y="1515060"/>
            <a:ext cx="7479792" cy="8857239"/>
          </a:xfrm>
          <a:prstGeom prst="arc">
            <a:avLst>
              <a:gd name="adj1" fmla="val 16660184"/>
              <a:gd name="adj2" fmla="val 21356646"/>
            </a:avLst>
          </a:prstGeom>
          <a:ln w="57150" cap="rnd">
            <a:solidFill>
              <a:schemeClr val="bg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127E1AE-857F-04BD-CE50-82C3C5673319}"/>
              </a:ext>
            </a:extLst>
          </p:cNvPr>
          <p:cNvSpPr txBox="1">
            <a:spLocks/>
          </p:cNvSpPr>
          <p:nvPr/>
        </p:nvSpPr>
        <p:spPr>
          <a:xfrm>
            <a:off x="4438999" y="1135498"/>
            <a:ext cx="3295992" cy="374714"/>
          </a:xfrm>
          <a:prstGeom prst="rect">
            <a:avLst/>
          </a:prstGeom>
        </p:spPr>
        <p:txBody>
          <a:bodyPr vert="horz" wrap="square" lIns="96770" tIns="48385" rIns="96770" bIns="48385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 defTabSz="967661">
              <a:defRPr/>
            </a:pPr>
            <a:r>
              <a:rPr lang="nl-NL" sz="1800">
                <a:solidFill>
                  <a:schemeClr val="bg1"/>
                </a:solidFill>
                <a:latin typeface="Montserrat" panose="00000500000000000000" pitchFamily="2" charset="0"/>
              </a:rPr>
              <a:t>Duurzaamheid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2FE76B65-BC29-DCAB-5367-09FF47E34676}"/>
              </a:ext>
            </a:extLst>
          </p:cNvPr>
          <p:cNvSpPr txBox="1">
            <a:spLocks/>
          </p:cNvSpPr>
          <p:nvPr/>
        </p:nvSpPr>
        <p:spPr>
          <a:xfrm>
            <a:off x="4448005" y="2025129"/>
            <a:ext cx="3295992" cy="651713"/>
          </a:xfrm>
          <a:prstGeom prst="rect">
            <a:avLst/>
          </a:prstGeom>
        </p:spPr>
        <p:txBody>
          <a:bodyPr vert="horz" wrap="square" lIns="96770" tIns="48385" rIns="96770" bIns="48385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 defTabSz="967661">
              <a:defRPr/>
            </a:pPr>
            <a:r>
              <a:rPr lang="nl-NL" sz="1800">
                <a:solidFill>
                  <a:schemeClr val="bg1"/>
                </a:solidFill>
                <a:latin typeface="Montserrat" panose="00000500000000000000" pitchFamily="2" charset="0"/>
              </a:rPr>
              <a:t>DUURZAAM ONDERNEMEN</a:t>
            </a:r>
          </a:p>
        </p:txBody>
      </p:sp>
      <p:cxnSp>
        <p:nvCxnSpPr>
          <p:cNvPr id="13" name="Rechte verbindingslijn met pijl 12">
            <a:extLst>
              <a:ext uri="{FF2B5EF4-FFF2-40B4-BE49-F238E27FC236}">
                <a16:creationId xmlns:a16="http://schemas.microsoft.com/office/drawing/2014/main" id="{1199FFC6-05CA-CD74-62C2-5058EECA6D49}"/>
              </a:ext>
            </a:extLst>
          </p:cNvPr>
          <p:cNvCxnSpPr>
            <a:cxnSpLocks/>
          </p:cNvCxnSpPr>
          <p:nvPr/>
        </p:nvCxnSpPr>
        <p:spPr>
          <a:xfrm>
            <a:off x="6082352" y="1538017"/>
            <a:ext cx="0" cy="417800"/>
          </a:xfrm>
          <a:prstGeom prst="straightConnector1">
            <a:avLst/>
          </a:prstGeom>
          <a:ln w="57150" cap="rnd">
            <a:solidFill>
              <a:schemeClr val="bg1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Rechte verbindingslijn met pijl 13">
            <a:extLst>
              <a:ext uri="{FF2B5EF4-FFF2-40B4-BE49-F238E27FC236}">
                <a16:creationId xmlns:a16="http://schemas.microsoft.com/office/drawing/2014/main" id="{0D5DE646-D39B-83CB-FF31-4F8556443068}"/>
              </a:ext>
            </a:extLst>
          </p:cNvPr>
          <p:cNvCxnSpPr>
            <a:cxnSpLocks/>
          </p:cNvCxnSpPr>
          <p:nvPr/>
        </p:nvCxnSpPr>
        <p:spPr>
          <a:xfrm>
            <a:off x="6096001" y="2705254"/>
            <a:ext cx="0" cy="417800"/>
          </a:xfrm>
          <a:prstGeom prst="straightConnector1">
            <a:avLst/>
          </a:prstGeom>
          <a:ln w="57150" cap="rnd">
            <a:solidFill>
              <a:schemeClr val="bg1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4" descr="Eu Icons - Free SVG &amp; PNG Eu Images - Noun Project">
            <a:extLst>
              <a:ext uri="{FF2B5EF4-FFF2-40B4-BE49-F238E27FC236}">
                <a16:creationId xmlns:a16="http://schemas.microsoft.com/office/drawing/2014/main" id="{0FAF80F7-3B30-1A08-081B-C48A805955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3446" y="3183436"/>
            <a:ext cx="1352403" cy="1352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kstvak 16">
            <a:extLst>
              <a:ext uri="{FF2B5EF4-FFF2-40B4-BE49-F238E27FC236}">
                <a16:creationId xmlns:a16="http://schemas.microsoft.com/office/drawing/2014/main" id="{0FE36C7C-AC9B-55EB-B5AF-300FCBB48438}"/>
              </a:ext>
            </a:extLst>
          </p:cNvPr>
          <p:cNvSpPr txBox="1"/>
          <p:nvPr/>
        </p:nvSpPr>
        <p:spPr>
          <a:xfrm>
            <a:off x="5532528" y="3575184"/>
            <a:ext cx="1154237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864017"/>
            <a:r>
              <a:rPr lang="en-US" sz="85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C</a:t>
            </a:r>
            <a:r>
              <a:rPr lang="en-US" sz="850" kern="0" noProof="1">
                <a:solidFill>
                  <a:srgbClr val="F3FBF7"/>
                </a:solidFill>
                <a:latin typeface="Montserrat" panose="00000500000000000000" pitchFamily="2" charset="0"/>
              </a:rPr>
              <a:t>orporate</a:t>
            </a:r>
          </a:p>
          <a:p>
            <a:pPr algn="ctr" defTabSz="864017"/>
            <a:r>
              <a:rPr lang="en-US" sz="85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S</a:t>
            </a:r>
            <a:r>
              <a:rPr lang="en-US" sz="850" kern="0" noProof="1">
                <a:solidFill>
                  <a:srgbClr val="F3FBF7"/>
                </a:solidFill>
                <a:latin typeface="Montserrat" panose="00000500000000000000" pitchFamily="2" charset="0"/>
              </a:rPr>
              <a:t>ustainability</a:t>
            </a:r>
          </a:p>
          <a:p>
            <a:pPr algn="ctr" defTabSz="864017"/>
            <a:r>
              <a:rPr lang="en-US" sz="85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R</a:t>
            </a:r>
            <a:r>
              <a:rPr lang="en-US" sz="850" kern="0" noProof="1">
                <a:solidFill>
                  <a:srgbClr val="F3FBF7"/>
                </a:solidFill>
                <a:latin typeface="Montserrat" panose="00000500000000000000" pitchFamily="2" charset="0"/>
              </a:rPr>
              <a:t>eporting </a:t>
            </a:r>
            <a:r>
              <a:rPr lang="en-US" sz="85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D</a:t>
            </a:r>
            <a:r>
              <a:rPr lang="en-US" sz="850" kern="0" noProof="1">
                <a:solidFill>
                  <a:srgbClr val="F3FBF7"/>
                </a:solidFill>
                <a:latin typeface="Montserrat" panose="00000500000000000000" pitchFamily="2" charset="0"/>
              </a:rPr>
              <a:t>irective</a:t>
            </a:r>
            <a:endParaRPr lang="en-GB" sz="850">
              <a:solidFill>
                <a:srgbClr val="555C6B"/>
              </a:solidFill>
              <a:latin typeface="Calibri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BE083F14-27A2-CE68-309F-56C2EE8CB172}"/>
              </a:ext>
            </a:extLst>
          </p:cNvPr>
          <p:cNvSpPr txBox="1">
            <a:spLocks/>
          </p:cNvSpPr>
          <p:nvPr/>
        </p:nvSpPr>
        <p:spPr>
          <a:xfrm>
            <a:off x="4461650" y="5045111"/>
            <a:ext cx="3295992" cy="374714"/>
          </a:xfrm>
          <a:prstGeom prst="rect">
            <a:avLst/>
          </a:prstGeom>
        </p:spPr>
        <p:txBody>
          <a:bodyPr vert="horz" wrap="square" lIns="96770" tIns="48385" rIns="96770" bIns="48385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 defTabSz="967661">
              <a:defRPr/>
            </a:pPr>
            <a:r>
              <a:rPr lang="nl-NL" sz="1800">
                <a:solidFill>
                  <a:schemeClr val="bg1"/>
                </a:solidFill>
                <a:latin typeface="Montserrat" panose="00000500000000000000" pitchFamily="2" charset="0"/>
              </a:rPr>
              <a:t>IT &amp; DATA</a:t>
            </a:r>
          </a:p>
        </p:txBody>
      </p:sp>
      <p:cxnSp>
        <p:nvCxnSpPr>
          <p:cNvPr id="19" name="Rechte verbindingslijn met pijl 18">
            <a:extLst>
              <a:ext uri="{FF2B5EF4-FFF2-40B4-BE49-F238E27FC236}">
                <a16:creationId xmlns:a16="http://schemas.microsoft.com/office/drawing/2014/main" id="{8EBF5EAC-9E64-D6D5-3A60-00312C851E43}"/>
              </a:ext>
            </a:extLst>
          </p:cNvPr>
          <p:cNvCxnSpPr>
            <a:cxnSpLocks/>
          </p:cNvCxnSpPr>
          <p:nvPr/>
        </p:nvCxnSpPr>
        <p:spPr>
          <a:xfrm flipV="1">
            <a:off x="6096670" y="4589899"/>
            <a:ext cx="0" cy="417800"/>
          </a:xfrm>
          <a:prstGeom prst="straightConnector1">
            <a:avLst/>
          </a:prstGeom>
          <a:ln w="57150" cap="rnd">
            <a:solidFill>
              <a:schemeClr val="bg1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898D1162-0A9A-90F3-76C7-37BE4555E59C}"/>
              </a:ext>
            </a:extLst>
          </p:cNvPr>
          <p:cNvSpPr txBox="1">
            <a:spLocks/>
          </p:cNvSpPr>
          <p:nvPr/>
        </p:nvSpPr>
        <p:spPr>
          <a:xfrm>
            <a:off x="4057731" y="3703057"/>
            <a:ext cx="1685261" cy="313159"/>
          </a:xfrm>
          <a:prstGeom prst="rect">
            <a:avLst/>
          </a:prstGeom>
        </p:spPr>
        <p:txBody>
          <a:bodyPr vert="horz" wrap="square" lIns="96770" tIns="48385" rIns="96770" bIns="48385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 defTabSz="967661">
              <a:defRPr/>
            </a:pPr>
            <a:r>
              <a:rPr lang="nl-NL" sz="1400" b="0">
                <a:solidFill>
                  <a:schemeClr val="bg1"/>
                </a:solidFill>
                <a:latin typeface="Montserrat" panose="00000500000000000000" pitchFamily="2" charset="0"/>
              </a:rPr>
              <a:t>MOETEN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9EE531D-9D99-83B0-0455-843BC7D49ED6}"/>
              </a:ext>
            </a:extLst>
          </p:cNvPr>
          <p:cNvSpPr txBox="1">
            <a:spLocks/>
          </p:cNvSpPr>
          <p:nvPr/>
        </p:nvSpPr>
        <p:spPr>
          <a:xfrm>
            <a:off x="6396603" y="3698466"/>
            <a:ext cx="1685261" cy="313159"/>
          </a:xfrm>
          <a:prstGeom prst="rect">
            <a:avLst/>
          </a:prstGeom>
        </p:spPr>
        <p:txBody>
          <a:bodyPr vert="horz" wrap="square" lIns="96770" tIns="48385" rIns="96770" bIns="48385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 defTabSz="967661">
              <a:defRPr/>
            </a:pPr>
            <a:r>
              <a:rPr lang="nl-NL" sz="1400" b="0">
                <a:solidFill>
                  <a:schemeClr val="bg1"/>
                </a:solidFill>
                <a:latin typeface="Montserrat" panose="00000500000000000000" pitchFamily="2" charset="0"/>
              </a:rPr>
              <a:t>WILLEN</a:t>
            </a:r>
          </a:p>
        </p:txBody>
      </p:sp>
      <p:cxnSp>
        <p:nvCxnSpPr>
          <p:cNvPr id="22" name="Rechte verbindingslijn met pijl 21">
            <a:extLst>
              <a:ext uri="{FF2B5EF4-FFF2-40B4-BE49-F238E27FC236}">
                <a16:creationId xmlns:a16="http://schemas.microsoft.com/office/drawing/2014/main" id="{A17ED156-E6E0-6921-98AE-97D493E54F34}"/>
              </a:ext>
            </a:extLst>
          </p:cNvPr>
          <p:cNvCxnSpPr>
            <a:cxnSpLocks/>
          </p:cNvCxnSpPr>
          <p:nvPr/>
        </p:nvCxnSpPr>
        <p:spPr>
          <a:xfrm flipV="1">
            <a:off x="7239233" y="1322855"/>
            <a:ext cx="0" cy="2278381"/>
          </a:xfrm>
          <a:prstGeom prst="straightConnector1">
            <a:avLst/>
          </a:prstGeom>
          <a:ln w="57150" cap="rnd">
            <a:solidFill>
              <a:schemeClr val="bg1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4083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533073BA-6013-1AF3-7218-93A97C22B9DF}"/>
              </a:ext>
            </a:extLst>
          </p:cNvPr>
          <p:cNvSpPr/>
          <p:nvPr/>
        </p:nvSpPr>
        <p:spPr>
          <a:xfrm>
            <a:off x="-156" y="-1176"/>
            <a:ext cx="11520312" cy="5817270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8" tIns="35998" rIns="35998" bIns="359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06">
              <a:buClr>
                <a:srgbClr val="4AC300"/>
              </a:buClr>
              <a:defRPr/>
            </a:pPr>
            <a:endParaRPr lang="en-GB" sz="900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CFADEDBE-FB19-44D6-B279-5F1A80733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526" y="6119637"/>
            <a:ext cx="431787" cy="360352"/>
          </a:xfrm>
        </p:spPr>
        <p:txBody>
          <a:bodyPr/>
          <a:lstStyle/>
          <a:p>
            <a:pPr defTabSz="864006">
              <a:defRPr/>
            </a:pPr>
            <a:fld id="{2882D01A-ED25-4F30-894A-E32B487BCBA5}" type="slidenum">
              <a:rPr lang="nl-NL">
                <a:solidFill>
                  <a:srgbClr val="F4F6F8">
                    <a:lumMod val="75000"/>
                  </a:srgbClr>
                </a:solidFill>
              </a:rPr>
              <a:pPr defTabSz="864006">
                <a:defRPr/>
              </a:pPr>
              <a:t>8</a:t>
            </a:fld>
            <a:endParaRPr lang="nl-NL">
              <a:solidFill>
                <a:srgbClr val="F4F6F8">
                  <a:lumMod val="75000"/>
                </a:srgbClr>
              </a:solidFill>
            </a:endParaRPr>
          </a:p>
        </p:txBody>
      </p:sp>
      <p:sp>
        <p:nvSpPr>
          <p:cNvPr id="8" name="TextBox 80">
            <a:extLst>
              <a:ext uri="{FF2B5EF4-FFF2-40B4-BE49-F238E27FC236}">
                <a16:creationId xmlns:a16="http://schemas.microsoft.com/office/drawing/2014/main" id="{E4B56F38-D319-1E33-83EB-0F04349BE264}"/>
              </a:ext>
            </a:extLst>
          </p:cNvPr>
          <p:cNvSpPr txBox="1"/>
          <p:nvPr/>
        </p:nvSpPr>
        <p:spPr>
          <a:xfrm>
            <a:off x="250992" y="183538"/>
            <a:ext cx="7487158" cy="803938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 defTabSz="914332">
              <a:defRPr/>
            </a:pPr>
            <a:r>
              <a:rPr lang="en-US" sz="16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Introductie Duurzaamheid</a:t>
            </a:r>
            <a:br>
              <a:rPr lang="en-US" sz="1800" b="1" kern="0" noProof="1">
                <a:solidFill>
                  <a:srgbClr val="F3FBF7"/>
                </a:solidFill>
                <a:latin typeface="Montserrat" panose="00000500000000000000" pitchFamily="2" charset="0"/>
              </a:rPr>
            </a:br>
            <a:r>
              <a:rPr lang="en-US" sz="3024" kern="0" noProof="1">
                <a:solidFill>
                  <a:srgbClr val="F3FBF7"/>
                </a:solidFill>
                <a:latin typeface="Montserrat" panose="00000500000000000000" pitchFamily="2" charset="0"/>
              </a:rPr>
              <a:t>DUURZAAMHEID</a:t>
            </a:r>
            <a:r>
              <a:rPr lang="en-US" sz="3024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 DEFINITIE</a:t>
            </a:r>
            <a:endParaRPr lang="nl-NL" sz="5400" b="1" kern="0" noProof="1">
              <a:solidFill>
                <a:srgbClr val="F3FBF7"/>
              </a:solidFill>
              <a:latin typeface="Montserrat" panose="00000500000000000000" pitchFamily="2" charset="0"/>
            </a:endParaRP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61487E1E-F751-4A85-2826-C0B6250EA156}"/>
              </a:ext>
            </a:extLst>
          </p:cNvPr>
          <p:cNvSpPr/>
          <p:nvPr/>
        </p:nvSpPr>
        <p:spPr>
          <a:xfrm>
            <a:off x="333" y="5817270"/>
            <a:ext cx="11520312" cy="67557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9" tIns="35999" rIns="35999" bIns="359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3949">
              <a:buClr>
                <a:srgbClr val="4AC300"/>
              </a:buClr>
            </a:pPr>
            <a:endParaRPr lang="en-GB" sz="90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3" name="Groep 32">
            <a:extLst>
              <a:ext uri="{FF2B5EF4-FFF2-40B4-BE49-F238E27FC236}">
                <a16:creationId xmlns:a16="http://schemas.microsoft.com/office/drawing/2014/main" id="{BE1404CD-CE05-B7CB-191D-ECE9969D2033}"/>
              </a:ext>
            </a:extLst>
          </p:cNvPr>
          <p:cNvGrpSpPr/>
          <p:nvPr/>
        </p:nvGrpSpPr>
        <p:grpSpPr>
          <a:xfrm>
            <a:off x="5434751" y="1227147"/>
            <a:ext cx="5526394" cy="4025881"/>
            <a:chOff x="3257550" y="1628742"/>
            <a:chExt cx="5848609" cy="4260609"/>
          </a:xfrm>
        </p:grpSpPr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9560F2A1-1F6E-423B-9037-93B208E444FD}"/>
                </a:ext>
              </a:extLst>
            </p:cNvPr>
            <p:cNvGrpSpPr/>
            <p:nvPr/>
          </p:nvGrpSpPr>
          <p:grpSpPr>
            <a:xfrm>
              <a:off x="4033055" y="1628742"/>
              <a:ext cx="4125890" cy="3921101"/>
              <a:chOff x="3652247" y="1392179"/>
              <a:chExt cx="4125890" cy="3921101"/>
            </a:xfrm>
          </p:grpSpPr>
          <p:sp>
            <p:nvSpPr>
              <p:cNvPr id="6" name="Ovaal 5">
                <a:extLst>
                  <a:ext uri="{FF2B5EF4-FFF2-40B4-BE49-F238E27FC236}">
                    <a16:creationId xmlns:a16="http://schemas.microsoft.com/office/drawing/2014/main" id="{E746F5E7-4402-C498-89B8-BEFA3061EC14}"/>
                  </a:ext>
                </a:extLst>
              </p:cNvPr>
              <p:cNvSpPr/>
              <p:nvPr/>
            </p:nvSpPr>
            <p:spPr>
              <a:xfrm>
                <a:off x="4572192" y="1392179"/>
                <a:ext cx="2286000" cy="2286000"/>
              </a:xfrm>
              <a:prstGeom prst="ellipse">
                <a:avLst/>
              </a:prstGeom>
              <a:noFill/>
              <a:ln w="38100" cap="rnd">
                <a:solidFill>
                  <a:schemeClr val="bg1"/>
                </a:solidFill>
                <a:round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64017">
                  <a:buClr>
                    <a:srgbClr val="4AC300"/>
                  </a:buClr>
                </a:pPr>
                <a:endParaRPr lang="en-GB" sz="661" b="1">
                  <a:solidFill>
                    <a:srgbClr val="FFFFFF"/>
                  </a:solidFill>
                  <a:latin typeface="Montserrat" panose="00000500000000000000" pitchFamily="2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9" name="Ovaal 8">
                <a:extLst>
                  <a:ext uri="{FF2B5EF4-FFF2-40B4-BE49-F238E27FC236}">
                    <a16:creationId xmlns:a16="http://schemas.microsoft.com/office/drawing/2014/main" id="{AA360EBC-6EE8-CBB4-4972-B1F6301F7EB8}"/>
                  </a:ext>
                </a:extLst>
              </p:cNvPr>
              <p:cNvSpPr/>
              <p:nvPr/>
            </p:nvSpPr>
            <p:spPr>
              <a:xfrm>
                <a:off x="5492137" y="3005280"/>
                <a:ext cx="2286000" cy="2286000"/>
              </a:xfrm>
              <a:prstGeom prst="ellipse">
                <a:avLst/>
              </a:prstGeom>
              <a:noFill/>
              <a:ln w="38100" cap="rnd">
                <a:solidFill>
                  <a:schemeClr val="bg1"/>
                </a:solidFill>
                <a:round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64017">
                  <a:buClr>
                    <a:srgbClr val="4AC300"/>
                  </a:buClr>
                </a:pPr>
                <a:endParaRPr lang="en-GB" sz="1323" b="1">
                  <a:solidFill>
                    <a:srgbClr val="FFFFFF"/>
                  </a:solidFill>
                  <a:latin typeface="Montserrat" panose="00000500000000000000" pitchFamily="2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0" name="Ovaal 9">
                <a:extLst>
                  <a:ext uri="{FF2B5EF4-FFF2-40B4-BE49-F238E27FC236}">
                    <a16:creationId xmlns:a16="http://schemas.microsoft.com/office/drawing/2014/main" id="{A2817D6F-F7BD-11BD-CB21-5746AC979D34}"/>
                  </a:ext>
                </a:extLst>
              </p:cNvPr>
              <p:cNvSpPr/>
              <p:nvPr/>
            </p:nvSpPr>
            <p:spPr>
              <a:xfrm>
                <a:off x="3652247" y="3027280"/>
                <a:ext cx="2286000" cy="2286000"/>
              </a:xfrm>
              <a:prstGeom prst="ellipse">
                <a:avLst/>
              </a:prstGeom>
              <a:noFill/>
              <a:ln w="38100" cap="rnd">
                <a:solidFill>
                  <a:schemeClr val="bg1"/>
                </a:solidFill>
                <a:round/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64017">
                  <a:buClr>
                    <a:srgbClr val="4AC300"/>
                  </a:buClr>
                </a:pPr>
                <a:endParaRPr lang="en-GB" sz="1512" b="1">
                  <a:solidFill>
                    <a:srgbClr val="FFFFFF"/>
                  </a:solidFill>
                  <a:latin typeface="Montserrat" panose="00000500000000000000" pitchFamily="2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cxnSp>
          <p:nvCxnSpPr>
            <p:cNvPr id="14" name="Rechte verbindingslijn 13">
              <a:extLst>
                <a:ext uri="{FF2B5EF4-FFF2-40B4-BE49-F238E27FC236}">
                  <a16:creationId xmlns:a16="http://schemas.microsoft.com/office/drawing/2014/main" id="{5A323C13-9696-D63F-555E-E3F9FBA8AC6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552950" y="2961309"/>
              <a:ext cx="1018514" cy="620091"/>
            </a:xfrm>
            <a:prstGeom prst="line">
              <a:avLst/>
            </a:prstGeom>
            <a:ln w="19050" cap="rnd">
              <a:solidFill>
                <a:schemeClr val="bg1"/>
              </a:solidFill>
              <a:round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kstvak 19">
              <a:extLst>
                <a:ext uri="{FF2B5EF4-FFF2-40B4-BE49-F238E27FC236}">
                  <a16:creationId xmlns:a16="http://schemas.microsoft.com/office/drawing/2014/main" id="{D16AFCDA-51F9-8223-08C0-D2DA4A61F6BC}"/>
                </a:ext>
              </a:extLst>
            </p:cNvPr>
            <p:cNvSpPr txBox="1"/>
            <p:nvPr/>
          </p:nvSpPr>
          <p:spPr>
            <a:xfrm>
              <a:off x="3257550" y="2543142"/>
              <a:ext cx="1295400" cy="2286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defTabSz="864017">
                <a:buClr>
                  <a:srgbClr val="4AC300"/>
                </a:buClr>
              </a:pPr>
              <a:r>
                <a:rPr lang="en-GB" sz="1323" err="1">
                  <a:solidFill>
                    <a:srgbClr val="FFFFFF"/>
                  </a:solidFill>
                  <a:latin typeface="Montserrat" panose="00000500000000000000" pitchFamily="2" charset="0"/>
                  <a:ea typeface="Open Sans" panose="020B0606030504020204" pitchFamily="34" charset="0"/>
                  <a:cs typeface="Open Sans" panose="020B0606030504020204" pitchFamily="34" charset="0"/>
                </a:rPr>
                <a:t>Bewoonbaar</a:t>
              </a:r>
              <a:endParaRPr lang="en-GB" sz="1323">
                <a:solidFill>
                  <a:srgbClr val="FFFFFF"/>
                </a:solidFill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cxnSp>
          <p:nvCxnSpPr>
            <p:cNvPr id="21" name="Rechte verbindingslijn 20">
              <a:extLst>
                <a:ext uri="{FF2B5EF4-FFF2-40B4-BE49-F238E27FC236}">
                  <a16:creationId xmlns:a16="http://schemas.microsoft.com/office/drawing/2014/main" id="{2EB82688-B3AD-F949-8B06-AB792E73371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20536" y="2903743"/>
              <a:ext cx="1028039" cy="667512"/>
            </a:xfrm>
            <a:prstGeom prst="line">
              <a:avLst/>
            </a:prstGeom>
            <a:ln w="19050" cap="rnd">
              <a:solidFill>
                <a:schemeClr val="bg1"/>
              </a:solidFill>
              <a:round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kstvak 24">
              <a:extLst>
                <a:ext uri="{FF2B5EF4-FFF2-40B4-BE49-F238E27FC236}">
                  <a16:creationId xmlns:a16="http://schemas.microsoft.com/office/drawing/2014/main" id="{931B8589-C268-4D94-D00A-D31C8911C7A9}"/>
                </a:ext>
              </a:extLst>
            </p:cNvPr>
            <p:cNvSpPr txBox="1"/>
            <p:nvPr/>
          </p:nvSpPr>
          <p:spPr>
            <a:xfrm>
              <a:off x="7810759" y="2543142"/>
              <a:ext cx="1295400" cy="2286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defTabSz="864017">
                <a:buClr>
                  <a:srgbClr val="4AC300"/>
                </a:buClr>
              </a:pPr>
              <a:r>
                <a:rPr lang="en-GB" sz="1323" err="1">
                  <a:solidFill>
                    <a:srgbClr val="FFFFFF"/>
                  </a:solidFill>
                  <a:latin typeface="Montserrat" panose="00000500000000000000" pitchFamily="2" charset="0"/>
                  <a:ea typeface="Open Sans" panose="020B0606030504020204" pitchFamily="34" charset="0"/>
                  <a:cs typeface="Open Sans" panose="020B0606030504020204" pitchFamily="34" charset="0"/>
                </a:rPr>
                <a:t>Eerlijk</a:t>
              </a:r>
              <a:endParaRPr lang="en-GB" sz="1323">
                <a:solidFill>
                  <a:srgbClr val="FFFFFF"/>
                </a:solidFill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6" name="Tekstvak 25">
              <a:extLst>
                <a:ext uri="{FF2B5EF4-FFF2-40B4-BE49-F238E27FC236}">
                  <a16:creationId xmlns:a16="http://schemas.microsoft.com/office/drawing/2014/main" id="{D2FA1505-6750-285B-E2D7-F0D9E9C483DE}"/>
                </a:ext>
              </a:extLst>
            </p:cNvPr>
            <p:cNvSpPr txBox="1"/>
            <p:nvPr/>
          </p:nvSpPr>
          <p:spPr>
            <a:xfrm>
              <a:off x="5472895" y="2582200"/>
              <a:ext cx="1295400" cy="2286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864017">
                <a:buClr>
                  <a:srgbClr val="4AC300"/>
                </a:buClr>
              </a:pPr>
              <a:r>
                <a:rPr lang="en-GB" sz="1323" b="1" err="1">
                  <a:solidFill>
                    <a:srgbClr val="FFFFFF"/>
                  </a:solidFill>
                  <a:latin typeface="Montserrat" panose="00000500000000000000" pitchFamily="2" charset="0"/>
                  <a:ea typeface="Open Sans" panose="020B0606030504020204" pitchFamily="34" charset="0"/>
                  <a:cs typeface="Open Sans" panose="020B0606030504020204" pitchFamily="34" charset="0"/>
                </a:rPr>
                <a:t>Sociaal</a:t>
              </a:r>
              <a:endParaRPr lang="en-GB" sz="1323" b="1">
                <a:solidFill>
                  <a:srgbClr val="FFFFFF"/>
                </a:solidFill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7" name="Tekstvak 26">
              <a:extLst>
                <a:ext uri="{FF2B5EF4-FFF2-40B4-BE49-F238E27FC236}">
                  <a16:creationId xmlns:a16="http://schemas.microsoft.com/office/drawing/2014/main" id="{9BF94EBE-6DBA-BE71-27D2-63D40055FD39}"/>
                </a:ext>
              </a:extLst>
            </p:cNvPr>
            <p:cNvSpPr txBox="1"/>
            <p:nvPr/>
          </p:nvSpPr>
          <p:spPr>
            <a:xfrm>
              <a:off x="4426805" y="4276250"/>
              <a:ext cx="1295400" cy="2286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864017">
                <a:buClr>
                  <a:srgbClr val="4AC300"/>
                </a:buClr>
              </a:pPr>
              <a:r>
                <a:rPr lang="en-GB" sz="1323" b="1">
                  <a:solidFill>
                    <a:srgbClr val="FFFFFF"/>
                  </a:solidFill>
                  <a:latin typeface="Montserrat" panose="00000500000000000000" pitchFamily="2" charset="0"/>
                  <a:ea typeface="Open Sans" panose="020B0606030504020204" pitchFamily="34" charset="0"/>
                  <a:cs typeface="Open Sans" panose="020B0606030504020204" pitchFamily="34" charset="0"/>
                </a:rPr>
                <a:t>Milieu</a:t>
              </a:r>
            </a:p>
          </p:txBody>
        </p:sp>
        <p:sp>
          <p:nvSpPr>
            <p:cNvPr id="28" name="Tekstvak 27">
              <a:extLst>
                <a:ext uri="{FF2B5EF4-FFF2-40B4-BE49-F238E27FC236}">
                  <a16:creationId xmlns:a16="http://schemas.microsoft.com/office/drawing/2014/main" id="{E5AE0986-BAA1-9038-6B67-43BF3D93C9D9}"/>
                </a:ext>
              </a:extLst>
            </p:cNvPr>
            <p:cNvSpPr txBox="1"/>
            <p:nvPr/>
          </p:nvSpPr>
          <p:spPr>
            <a:xfrm>
              <a:off x="6479320" y="4269833"/>
              <a:ext cx="1295400" cy="2286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864017">
                <a:buClr>
                  <a:srgbClr val="4AC300"/>
                </a:buClr>
              </a:pPr>
              <a:r>
                <a:rPr lang="en-GB" sz="1323" b="1" err="1">
                  <a:solidFill>
                    <a:srgbClr val="FFFFFF"/>
                  </a:solidFill>
                  <a:latin typeface="Montserrat" panose="00000500000000000000" pitchFamily="2" charset="0"/>
                  <a:ea typeface="Open Sans" panose="020B0606030504020204" pitchFamily="34" charset="0"/>
                  <a:cs typeface="Open Sans" panose="020B0606030504020204" pitchFamily="34" charset="0"/>
                </a:rPr>
                <a:t>Economisch</a:t>
              </a:r>
              <a:endParaRPr lang="en-GB" sz="1323" b="1">
                <a:solidFill>
                  <a:srgbClr val="FFFFFF"/>
                </a:solidFill>
                <a:latin typeface="Montserrat" panose="00000500000000000000" pitchFamily="2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cxnSp>
          <p:nvCxnSpPr>
            <p:cNvPr id="29" name="Rechte verbindingslijn 28">
              <a:extLst>
                <a:ext uri="{FF2B5EF4-FFF2-40B4-BE49-F238E27FC236}">
                  <a16:creationId xmlns:a16="http://schemas.microsoft.com/office/drawing/2014/main" id="{EBC0326F-668F-A7A7-7824-8045E02EC940}"/>
                </a:ext>
              </a:extLst>
            </p:cNvPr>
            <p:cNvCxnSpPr>
              <a:cxnSpLocks/>
            </p:cNvCxnSpPr>
            <p:nvPr/>
          </p:nvCxnSpPr>
          <p:spPr>
            <a:xfrm>
              <a:off x="6090915" y="4406843"/>
              <a:ext cx="0" cy="1100923"/>
            </a:xfrm>
            <a:prstGeom prst="line">
              <a:avLst/>
            </a:prstGeom>
            <a:ln w="19050" cap="rnd">
              <a:solidFill>
                <a:schemeClr val="bg1"/>
              </a:solidFill>
              <a:round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kstvak 31">
              <a:extLst>
                <a:ext uri="{FF2B5EF4-FFF2-40B4-BE49-F238E27FC236}">
                  <a16:creationId xmlns:a16="http://schemas.microsoft.com/office/drawing/2014/main" id="{FB8157CA-A875-FBE6-D1E0-C25AB87492DE}"/>
                </a:ext>
              </a:extLst>
            </p:cNvPr>
            <p:cNvSpPr txBox="1"/>
            <p:nvPr/>
          </p:nvSpPr>
          <p:spPr>
            <a:xfrm>
              <a:off x="5345675" y="5660751"/>
              <a:ext cx="1424940" cy="2286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864017">
                <a:buClr>
                  <a:srgbClr val="4AC300"/>
                </a:buClr>
              </a:pPr>
              <a:r>
                <a:rPr lang="nl-NL" sz="1323">
                  <a:solidFill>
                    <a:srgbClr val="FFFFFF"/>
                  </a:solidFill>
                  <a:latin typeface="Montserrat" panose="00000500000000000000" pitchFamily="2" charset="0"/>
                  <a:ea typeface="Open Sans" panose="020B0606030504020204" pitchFamily="34" charset="0"/>
                  <a:cs typeface="Open Sans" panose="020B0606030504020204" pitchFamily="34" charset="0"/>
                </a:rPr>
                <a:t>Levensvatbaar</a:t>
              </a:r>
            </a:p>
          </p:txBody>
        </p:sp>
      </p:grpSp>
      <p:sp>
        <p:nvSpPr>
          <p:cNvPr id="34" name="Gelijkbenige driehoek 33">
            <a:extLst>
              <a:ext uri="{FF2B5EF4-FFF2-40B4-BE49-F238E27FC236}">
                <a16:creationId xmlns:a16="http://schemas.microsoft.com/office/drawing/2014/main" id="{61E9FF18-8B86-B704-13FB-C627CEE61D73}"/>
              </a:ext>
            </a:extLst>
          </p:cNvPr>
          <p:cNvSpPr/>
          <p:nvPr/>
        </p:nvSpPr>
        <p:spPr>
          <a:xfrm>
            <a:off x="7993942" y="3215263"/>
            <a:ext cx="236153" cy="171942"/>
          </a:xfrm>
          <a:prstGeom prst="triangle">
            <a:avLst/>
          </a:prstGeom>
          <a:solidFill>
            <a:schemeClr val="bg1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4017" tIns="34017" rIns="34017" bIns="340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17">
              <a:buClr>
                <a:srgbClr val="4AC300"/>
              </a:buClr>
            </a:pPr>
            <a:endParaRPr lang="en-GB" sz="85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1" name="Tekstvak 40">
            <a:extLst>
              <a:ext uri="{FF2B5EF4-FFF2-40B4-BE49-F238E27FC236}">
                <a16:creationId xmlns:a16="http://schemas.microsoft.com/office/drawing/2014/main" id="{7BEEBB41-A1F4-9118-AE5B-6DE0B75AAF67}"/>
              </a:ext>
            </a:extLst>
          </p:cNvPr>
          <p:cNvSpPr txBox="1"/>
          <p:nvPr/>
        </p:nvSpPr>
        <p:spPr>
          <a:xfrm>
            <a:off x="250992" y="1576878"/>
            <a:ext cx="4115151" cy="22590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64017"/>
            <a:r>
              <a:rPr lang="en-GB" sz="2268" b="1">
                <a:solidFill>
                  <a:srgbClr val="FFFFFF"/>
                </a:solidFill>
                <a:latin typeface="Montserrat" panose="00000500000000000000" pitchFamily="2" charset="0"/>
              </a:rPr>
              <a:t>“Meeting the needs of the present without compromising the ability of future generations to meet their own needs”</a:t>
            </a:r>
          </a:p>
          <a:p>
            <a:pPr defTabSz="864017"/>
            <a:endParaRPr lang="en-GB">
              <a:solidFill>
                <a:srgbClr val="FFFFFF"/>
              </a:solidFill>
              <a:latin typeface="Montserrat" panose="00000500000000000000" pitchFamily="2" charset="0"/>
            </a:endParaRPr>
          </a:p>
          <a:p>
            <a:pPr algn="r" defTabSz="864017"/>
            <a:r>
              <a:rPr lang="en-GB" sz="1039">
                <a:solidFill>
                  <a:srgbClr val="FFFFFF"/>
                </a:solidFill>
                <a:latin typeface="Montserrat" panose="00000500000000000000" pitchFamily="2" charset="0"/>
              </a:rPr>
              <a:t>- </a:t>
            </a:r>
            <a:r>
              <a:rPr lang="en-GB" sz="1039">
                <a:solidFill>
                  <a:srgbClr val="FFFFFF"/>
                </a:solidFill>
                <a:latin typeface="Montserrat" panose="00000500000000000000" pitchFamily="2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nited Nations Brundtland Commission (1987)</a:t>
            </a:r>
            <a:endParaRPr lang="en-GB" sz="1039">
              <a:solidFill>
                <a:srgbClr val="FFFFFF"/>
              </a:solidFill>
              <a:latin typeface="Montserrat" panose="00000500000000000000" pitchFamily="2" charset="0"/>
            </a:endParaRPr>
          </a:p>
        </p:txBody>
      </p:sp>
      <p:pic>
        <p:nvPicPr>
          <p:cNvPr id="16" name="Afbeelding 15">
            <a:extLst>
              <a:ext uri="{FF2B5EF4-FFF2-40B4-BE49-F238E27FC236}">
                <a16:creationId xmlns:a16="http://schemas.microsoft.com/office/drawing/2014/main" id="{6F09E44B-C9CF-D34E-CA36-50196DA2D00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17" name="Picture 2" descr="Nationale Coalitie Duurzame Digitalisering">
            <a:extLst>
              <a:ext uri="{FF2B5EF4-FFF2-40B4-BE49-F238E27FC236}">
                <a16:creationId xmlns:a16="http://schemas.microsoft.com/office/drawing/2014/main" id="{435F8308-830A-D90E-D06F-91C2AAA07D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2AF9ED0D-858A-C7D1-B32B-FD4561E88B07}"/>
              </a:ext>
            </a:extLst>
          </p:cNvPr>
          <p:cNvSpPr txBox="1">
            <a:spLocks/>
          </p:cNvSpPr>
          <p:nvPr/>
        </p:nvSpPr>
        <p:spPr>
          <a:xfrm>
            <a:off x="125480" y="5917710"/>
            <a:ext cx="7409986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</a:t>
            </a:r>
            <a:r>
              <a:rPr kumimoji="0" lang="nl-NL" sz="2400" b="1" i="0" u="none" strike="noStrike" kern="1200" cap="all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BeYOND</a:t>
            </a: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2627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CFADEDBE-FB19-44D6-B279-5F1A80733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8526" y="6119637"/>
            <a:ext cx="431787" cy="360352"/>
          </a:xfrm>
        </p:spPr>
        <p:txBody>
          <a:bodyPr/>
          <a:lstStyle/>
          <a:p>
            <a:pPr defTabSz="864006">
              <a:defRPr/>
            </a:pPr>
            <a:fld id="{2882D01A-ED25-4F30-894A-E32B487BCBA5}" type="slidenum">
              <a:rPr lang="nl-NL">
                <a:solidFill>
                  <a:srgbClr val="F4F6F8">
                    <a:lumMod val="75000"/>
                  </a:srgbClr>
                </a:solidFill>
              </a:rPr>
              <a:pPr defTabSz="864006">
                <a:defRPr/>
              </a:pPr>
              <a:t>9</a:t>
            </a:fld>
            <a:endParaRPr lang="nl-NL">
              <a:solidFill>
                <a:srgbClr val="F4F6F8">
                  <a:lumMod val="75000"/>
                </a:srgbClr>
              </a:solidFill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533073BA-6013-1AF3-7218-93A97C22B9DF}"/>
              </a:ext>
            </a:extLst>
          </p:cNvPr>
          <p:cNvSpPr/>
          <p:nvPr/>
        </p:nvSpPr>
        <p:spPr>
          <a:xfrm>
            <a:off x="-16842" y="-7979"/>
            <a:ext cx="11537156" cy="1141785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8" tIns="35998" rIns="35998" bIns="359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06">
              <a:buClr>
                <a:srgbClr val="4AC300"/>
              </a:buClr>
              <a:defRPr/>
            </a:pPr>
            <a:endParaRPr lang="en-GB" sz="90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TextBox 80">
            <a:extLst>
              <a:ext uri="{FF2B5EF4-FFF2-40B4-BE49-F238E27FC236}">
                <a16:creationId xmlns:a16="http://schemas.microsoft.com/office/drawing/2014/main" id="{E4B56F38-D319-1E33-83EB-0F04349BE264}"/>
              </a:ext>
            </a:extLst>
          </p:cNvPr>
          <p:cNvSpPr txBox="1"/>
          <p:nvPr/>
        </p:nvSpPr>
        <p:spPr>
          <a:xfrm>
            <a:off x="250992" y="183538"/>
            <a:ext cx="10063375" cy="803938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 defTabSz="914332">
              <a:defRPr/>
            </a:pPr>
            <a:r>
              <a:rPr lang="en-US" sz="1600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Introductie Duurzaamheid</a:t>
            </a:r>
            <a:br>
              <a:rPr lang="en-US" sz="1800" b="1" kern="0" noProof="1">
                <a:solidFill>
                  <a:srgbClr val="F3FBF7"/>
                </a:solidFill>
                <a:latin typeface="Montserrat" panose="00000500000000000000" pitchFamily="2" charset="0"/>
              </a:rPr>
            </a:br>
            <a:r>
              <a:rPr lang="en-US" sz="3024" kern="0" noProof="1">
                <a:solidFill>
                  <a:srgbClr val="F3FBF7"/>
                </a:solidFill>
                <a:latin typeface="Montserrat" panose="00000500000000000000" pitchFamily="2" charset="0"/>
              </a:rPr>
              <a:t>DUURZAAMHEID</a:t>
            </a:r>
            <a:r>
              <a:rPr lang="en-US" sz="3024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 GLOBALE UITDAGINGEN </a:t>
            </a:r>
            <a:endParaRPr lang="nl-NL" sz="5400" b="1" kern="0" noProof="1">
              <a:solidFill>
                <a:srgbClr val="F3FBF7"/>
              </a:solidFill>
              <a:latin typeface="Montserrat" panose="00000500000000000000" pitchFamily="2" charset="0"/>
            </a:endParaRP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61487E1E-F751-4A85-2826-C0B6250EA156}"/>
              </a:ext>
            </a:extLst>
          </p:cNvPr>
          <p:cNvSpPr/>
          <p:nvPr/>
        </p:nvSpPr>
        <p:spPr>
          <a:xfrm>
            <a:off x="333" y="5817270"/>
            <a:ext cx="11520312" cy="675576"/>
          </a:xfrm>
          <a:prstGeom prst="rect">
            <a:avLst/>
          </a:prstGeom>
          <a:solidFill>
            <a:srgbClr val="3FBE80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9" tIns="35999" rIns="35999" bIns="359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3949">
              <a:buClr>
                <a:srgbClr val="4AC300"/>
              </a:buClr>
            </a:pPr>
            <a:endParaRPr lang="en-GB" sz="900" err="1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Rechthoek 8">
            <a:extLst>
              <a:ext uri="{FF2B5EF4-FFF2-40B4-BE49-F238E27FC236}">
                <a16:creationId xmlns:a16="http://schemas.microsoft.com/office/drawing/2014/main" id="{336C6649-236A-9A1D-8C72-01DDE39F53BA}"/>
              </a:ext>
            </a:extLst>
          </p:cNvPr>
          <p:cNvSpPr/>
          <p:nvPr/>
        </p:nvSpPr>
        <p:spPr>
          <a:xfrm>
            <a:off x="495102" y="1323200"/>
            <a:ext cx="5202262" cy="2124646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8" tIns="35998" rIns="35998" bIns="359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06">
              <a:buClr>
                <a:srgbClr val="4AC300"/>
              </a:buClr>
              <a:defRPr/>
            </a:pPr>
            <a:endParaRPr lang="en-GB" sz="900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4448165A-DF67-C978-3BBC-EA3960AF1EDE}"/>
              </a:ext>
            </a:extLst>
          </p:cNvPr>
          <p:cNvSpPr/>
          <p:nvPr/>
        </p:nvSpPr>
        <p:spPr>
          <a:xfrm>
            <a:off x="495102" y="3539388"/>
            <a:ext cx="5202262" cy="2124646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8" tIns="35998" rIns="35998" bIns="359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06">
              <a:buClr>
                <a:srgbClr val="4AC300"/>
              </a:buClr>
              <a:defRPr/>
            </a:pPr>
            <a:endParaRPr lang="en-GB" sz="900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03B734C9-4A9C-4371-CC77-CAA37AD5D9A3}"/>
              </a:ext>
            </a:extLst>
          </p:cNvPr>
          <p:cNvSpPr/>
          <p:nvPr/>
        </p:nvSpPr>
        <p:spPr>
          <a:xfrm>
            <a:off x="5823124" y="3546294"/>
            <a:ext cx="5202261" cy="2124646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8" tIns="35998" rIns="35998" bIns="359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06">
              <a:buClr>
                <a:srgbClr val="4AC300"/>
              </a:buClr>
              <a:defRPr/>
            </a:pPr>
            <a:endParaRPr lang="en-GB" sz="900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09CDD7DE-D97E-5862-BB70-B3105685B1CE}"/>
              </a:ext>
            </a:extLst>
          </p:cNvPr>
          <p:cNvSpPr/>
          <p:nvPr/>
        </p:nvSpPr>
        <p:spPr>
          <a:xfrm>
            <a:off x="5823123" y="1323200"/>
            <a:ext cx="5202261" cy="2124646"/>
          </a:xfrm>
          <a:prstGeom prst="rect">
            <a:avLst/>
          </a:prstGeom>
          <a:solidFill>
            <a:srgbClr val="236B47"/>
          </a:solidFill>
          <a:ln w="15875" cap="rnd">
            <a:noFill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35998" tIns="35998" rIns="35998" bIns="359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4006">
              <a:buClr>
                <a:srgbClr val="4AC300"/>
              </a:buClr>
              <a:defRPr/>
            </a:pPr>
            <a:endParaRPr lang="en-GB" sz="900">
              <a:solidFill>
                <a:srgbClr val="555C6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074" name="Picture 2" descr="Climate Change Icon - Free PNG &amp; SVG 3389596 - Noun Project">
            <a:extLst>
              <a:ext uri="{FF2B5EF4-FFF2-40B4-BE49-F238E27FC236}">
                <a16:creationId xmlns:a16="http://schemas.microsoft.com/office/drawing/2014/main" id="{A98AB442-2BBA-1366-CCA0-42853D369C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2744" y="1537233"/>
            <a:ext cx="1016081" cy="1016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Afbeelding 15">
            <a:extLst>
              <a:ext uri="{FF2B5EF4-FFF2-40B4-BE49-F238E27FC236}">
                <a16:creationId xmlns:a16="http://schemas.microsoft.com/office/drawing/2014/main" id="{4443D43E-42E5-7C78-AA44-9C77250D37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5102" y="1323645"/>
            <a:ext cx="3789102" cy="2114012"/>
          </a:xfrm>
          <a:prstGeom prst="rect">
            <a:avLst/>
          </a:prstGeom>
        </p:spPr>
      </p:pic>
      <p:sp>
        <p:nvSpPr>
          <p:cNvPr id="18" name="Tekstvak 17">
            <a:extLst>
              <a:ext uri="{FF2B5EF4-FFF2-40B4-BE49-F238E27FC236}">
                <a16:creationId xmlns:a16="http://schemas.microsoft.com/office/drawing/2014/main" id="{19C083DB-6DC4-B5DA-D8A1-0295F7CDDF98}"/>
              </a:ext>
            </a:extLst>
          </p:cNvPr>
          <p:cNvSpPr txBox="1"/>
          <p:nvPr/>
        </p:nvSpPr>
        <p:spPr>
          <a:xfrm>
            <a:off x="4037883" y="2648011"/>
            <a:ext cx="1905802" cy="4994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864017"/>
            <a:r>
              <a:rPr lang="en-US" sz="1323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Klimaat-verandering</a:t>
            </a:r>
            <a:endParaRPr lang="en-GB" sz="1323">
              <a:solidFill>
                <a:srgbClr val="555C6B"/>
              </a:solidFill>
              <a:latin typeface="Calibri"/>
            </a:endParaRPr>
          </a:p>
        </p:txBody>
      </p:sp>
      <p:pic>
        <p:nvPicPr>
          <p:cNvPr id="3076" name="Picture 4" descr="How Do Plastics Enter our Oceans? - Purpose Rising Blog">
            <a:extLst>
              <a:ext uri="{FF2B5EF4-FFF2-40B4-BE49-F238E27FC236}">
                <a16:creationId xmlns:a16="http://schemas.microsoft.com/office/drawing/2014/main" id="{AC2D63B5-E18B-87D3-709F-E57C8AF8CD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0852" y="1323199"/>
            <a:ext cx="3782496" cy="2127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kstvak 18">
            <a:extLst>
              <a:ext uri="{FF2B5EF4-FFF2-40B4-BE49-F238E27FC236}">
                <a16:creationId xmlns:a16="http://schemas.microsoft.com/office/drawing/2014/main" id="{E34B085E-4DA8-0D1E-D431-E49CE743A0AA}"/>
              </a:ext>
            </a:extLst>
          </p:cNvPr>
          <p:cNvSpPr txBox="1"/>
          <p:nvPr/>
        </p:nvSpPr>
        <p:spPr>
          <a:xfrm>
            <a:off x="9351258" y="2653519"/>
            <a:ext cx="1905802" cy="4994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864017"/>
            <a:r>
              <a:rPr lang="en-US" sz="1323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Productie &amp; consumptie</a:t>
            </a:r>
            <a:endParaRPr lang="en-GB" sz="1323">
              <a:solidFill>
                <a:srgbClr val="555C6B"/>
              </a:solidFill>
              <a:latin typeface="Calibri"/>
            </a:endParaRPr>
          </a:p>
        </p:txBody>
      </p:sp>
      <p:pic>
        <p:nvPicPr>
          <p:cNvPr id="3078" name="Picture 6" descr="Waste - Free ecology and environment icons">
            <a:extLst>
              <a:ext uri="{FF2B5EF4-FFF2-40B4-BE49-F238E27FC236}">
                <a16:creationId xmlns:a16="http://schemas.microsoft.com/office/drawing/2014/main" id="{25BEB5E6-BFDD-01AA-9A00-1AC3A7DE26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9753" y="1630867"/>
            <a:ext cx="828811" cy="828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Afbeelding 20">
            <a:extLst>
              <a:ext uri="{FF2B5EF4-FFF2-40B4-BE49-F238E27FC236}">
                <a16:creationId xmlns:a16="http://schemas.microsoft.com/office/drawing/2014/main" id="{56C3A2FF-0032-DE0B-D162-75B12266357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3316" r="67975"/>
          <a:stretch/>
        </p:blipFill>
        <p:spPr>
          <a:xfrm>
            <a:off x="495101" y="3538199"/>
            <a:ext cx="1870715" cy="2114011"/>
          </a:xfrm>
          <a:prstGeom prst="rect">
            <a:avLst/>
          </a:prstGeom>
        </p:spPr>
      </p:pic>
      <p:pic>
        <p:nvPicPr>
          <p:cNvPr id="22" name="Afbeelding 21">
            <a:extLst>
              <a:ext uri="{FF2B5EF4-FFF2-40B4-BE49-F238E27FC236}">
                <a16:creationId xmlns:a16="http://schemas.microsoft.com/office/drawing/2014/main" id="{C425B308-E974-CD67-4E4F-8EC7D853BB4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70439" r="120"/>
          <a:stretch/>
        </p:blipFill>
        <p:spPr>
          <a:xfrm>
            <a:off x="2347816" y="3538049"/>
            <a:ext cx="1918387" cy="2114011"/>
          </a:xfrm>
          <a:prstGeom prst="rect">
            <a:avLst/>
          </a:prstGeom>
        </p:spPr>
      </p:pic>
      <p:sp>
        <p:nvSpPr>
          <p:cNvPr id="24" name="Tekstvak 23">
            <a:extLst>
              <a:ext uri="{FF2B5EF4-FFF2-40B4-BE49-F238E27FC236}">
                <a16:creationId xmlns:a16="http://schemas.microsoft.com/office/drawing/2014/main" id="{DADF39AE-56BB-92DC-03C9-07BB901B05D5}"/>
              </a:ext>
            </a:extLst>
          </p:cNvPr>
          <p:cNvSpPr txBox="1"/>
          <p:nvPr/>
        </p:nvSpPr>
        <p:spPr>
          <a:xfrm>
            <a:off x="4274229" y="4736803"/>
            <a:ext cx="1433109" cy="7904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864017"/>
            <a:r>
              <a:rPr lang="nl-NL" sz="1134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Stedelijke groei, polarisatie &amp; sociale bewegingen</a:t>
            </a:r>
            <a:endParaRPr lang="en-GB" sz="1134">
              <a:solidFill>
                <a:srgbClr val="555C6B"/>
              </a:solidFill>
              <a:latin typeface="Calibri"/>
            </a:endParaRPr>
          </a:p>
        </p:txBody>
      </p:sp>
      <p:pic>
        <p:nvPicPr>
          <p:cNvPr id="3080" name="Picture 8" descr="Protest Special Lineal icon">
            <a:extLst>
              <a:ext uri="{FF2B5EF4-FFF2-40B4-BE49-F238E27FC236}">
                <a16:creationId xmlns:a16="http://schemas.microsoft.com/office/drawing/2014/main" id="{9F5A7E0A-403E-AAC3-6C86-D70C0C935F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487" y="3806810"/>
            <a:ext cx="753464" cy="753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Afbeelding 25">
            <a:extLst>
              <a:ext uri="{FF2B5EF4-FFF2-40B4-BE49-F238E27FC236}">
                <a16:creationId xmlns:a16="http://schemas.microsoft.com/office/drawing/2014/main" id="{E4AADC28-291D-42E8-48DA-E13890DF3F89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34086" r="34608"/>
          <a:stretch/>
        </p:blipFill>
        <p:spPr>
          <a:xfrm>
            <a:off x="7524233" y="3534288"/>
            <a:ext cx="2074917" cy="2136653"/>
          </a:xfrm>
          <a:prstGeom prst="rect">
            <a:avLst/>
          </a:prstGeom>
        </p:spPr>
      </p:pic>
      <p:pic>
        <p:nvPicPr>
          <p:cNvPr id="27" name="Afbeelding 26">
            <a:extLst>
              <a:ext uri="{FF2B5EF4-FFF2-40B4-BE49-F238E27FC236}">
                <a16:creationId xmlns:a16="http://schemas.microsoft.com/office/drawing/2014/main" id="{2B7EC3F6-90DD-B411-FCE6-6E777A1F2D0C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69140" r="5051"/>
          <a:stretch/>
        </p:blipFill>
        <p:spPr>
          <a:xfrm>
            <a:off x="5820852" y="3534287"/>
            <a:ext cx="1703381" cy="2127654"/>
          </a:xfrm>
          <a:prstGeom prst="rect">
            <a:avLst/>
          </a:prstGeom>
        </p:spPr>
      </p:pic>
      <p:sp>
        <p:nvSpPr>
          <p:cNvPr id="28" name="Tekstvak 27">
            <a:extLst>
              <a:ext uri="{FF2B5EF4-FFF2-40B4-BE49-F238E27FC236}">
                <a16:creationId xmlns:a16="http://schemas.microsoft.com/office/drawing/2014/main" id="{26F17C3D-5722-D366-E230-B8E8E1275781}"/>
              </a:ext>
            </a:extLst>
          </p:cNvPr>
          <p:cNvSpPr txBox="1"/>
          <p:nvPr/>
        </p:nvSpPr>
        <p:spPr>
          <a:xfrm>
            <a:off x="9603348" y="4702767"/>
            <a:ext cx="1433109" cy="6159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864017"/>
            <a:r>
              <a:rPr lang="nl-NL" sz="1134" b="1" kern="0" noProof="1">
                <a:solidFill>
                  <a:srgbClr val="F3FBF7"/>
                </a:solidFill>
                <a:latin typeface="Montserrat" panose="00000500000000000000" pitchFamily="2" charset="0"/>
              </a:rPr>
              <a:t>Ongelijkheid &amp; bredere sociale uitdagingen</a:t>
            </a:r>
            <a:endParaRPr lang="en-GB" sz="1134">
              <a:solidFill>
                <a:srgbClr val="555C6B"/>
              </a:solidFill>
              <a:latin typeface="Calibri"/>
            </a:endParaRPr>
          </a:p>
        </p:txBody>
      </p:sp>
      <p:pic>
        <p:nvPicPr>
          <p:cNvPr id="3082" name="Picture 10" descr="Social inequality Special Lineal icon">
            <a:extLst>
              <a:ext uri="{FF2B5EF4-FFF2-40B4-BE49-F238E27FC236}">
                <a16:creationId xmlns:a16="http://schemas.microsoft.com/office/drawing/2014/main" id="{A1A49323-970B-9A91-747D-06C6EE2401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7425" y="3767696"/>
            <a:ext cx="753464" cy="753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410C4B1C-4EFE-6BDF-51F7-DE3112427725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15" b="22573"/>
          <a:stretch/>
        </p:blipFill>
        <p:spPr>
          <a:xfrm>
            <a:off x="9882438" y="5959886"/>
            <a:ext cx="1415246" cy="364637"/>
          </a:xfrm>
          <a:prstGeom prst="rect">
            <a:avLst/>
          </a:prstGeom>
        </p:spPr>
      </p:pic>
      <p:pic>
        <p:nvPicPr>
          <p:cNvPr id="14" name="Picture 2" descr="Nationale Coalitie Duurzame Digitalisering">
            <a:extLst>
              <a:ext uri="{FF2B5EF4-FFF2-40B4-BE49-F238E27FC236}">
                <a16:creationId xmlns:a16="http://schemas.microsoft.com/office/drawing/2014/main" id="{73DA50F6-D4A1-789B-D441-ED61685525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685" y="5833235"/>
            <a:ext cx="1482136" cy="617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0F1091BB-E700-2B83-5973-A2A12DD83BE4}"/>
              </a:ext>
            </a:extLst>
          </p:cNvPr>
          <p:cNvSpPr txBox="1">
            <a:spLocks/>
          </p:cNvSpPr>
          <p:nvPr/>
        </p:nvSpPr>
        <p:spPr>
          <a:xfrm>
            <a:off x="125480" y="5917710"/>
            <a:ext cx="7409986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4000" b="1" kern="1200" cap="all" normalizeH="0" baseline="0">
                <a:solidFill>
                  <a:srgbClr val="2F3A4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CSRD </a:t>
            </a:r>
            <a:r>
              <a:rPr kumimoji="0" lang="nl-NL" sz="2400" b="1" i="0" u="none" strike="noStrike" kern="1200" cap="all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BeYOND</a:t>
            </a:r>
            <a:r>
              <a:rPr kumimoji="0" lang="nl-NL" sz="24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 COMPLIANCE </a:t>
            </a:r>
            <a:endParaRPr kumimoji="0" lang="nl-NL" sz="32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5207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EFT" val="596,176696777344"/>
  <p:tag name="TOP" val="160,7727508544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Hot ITem Theme">
  <a:themeElements>
    <a:clrScheme name="Conclusion">
      <a:dk1>
        <a:srgbClr val="000000"/>
      </a:dk1>
      <a:lt1>
        <a:srgbClr val="FFFFFF"/>
      </a:lt1>
      <a:dk2>
        <a:srgbClr val="C83737"/>
      </a:dk2>
      <a:lt2>
        <a:srgbClr val="F4F6F8"/>
      </a:lt2>
      <a:accent1>
        <a:srgbClr val="00AAC8"/>
      </a:accent1>
      <a:accent2>
        <a:srgbClr val="1369AF"/>
      </a:accent2>
      <a:accent3>
        <a:srgbClr val="F1CA13"/>
      </a:accent3>
      <a:accent4>
        <a:srgbClr val="529F45"/>
      </a:accent4>
      <a:accent5>
        <a:srgbClr val="BC448C"/>
      </a:accent5>
      <a:accent6>
        <a:srgbClr val="5A3F8C"/>
      </a:accent6>
      <a:hlink>
        <a:srgbClr val="36A7DE"/>
      </a:hlink>
      <a:folHlink>
        <a:srgbClr val="5A3F8C"/>
      </a:folHlink>
    </a:clrScheme>
    <a:fontScheme name="Hot ITem 201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5875" cap="rnd">
          <a:solidFill>
            <a:schemeClr val="tx2"/>
          </a:solidFill>
          <a:round/>
          <a:tailEnd type="none"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Clr>
            <a:schemeClr val="accent3"/>
          </a:buClr>
          <a:defRPr sz="900" dirty="0" err="1" smtClean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5875" cap="rnd">
          <a:solidFill>
            <a:schemeClr val="bg2">
              <a:lumMod val="75000"/>
            </a:schemeClr>
          </a:solidFill>
          <a:round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87313" indent="-87313" algn="l">
          <a:buClr>
            <a:schemeClr val="accent3"/>
          </a:buClr>
          <a:buFont typeface="Wingdings" panose="05000000000000000000" pitchFamily="2" charset="2"/>
          <a:buChar char="§"/>
          <a:defRPr sz="900" dirty="0" err="1" smtClean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ot ITem Groep - Conclusion - KLM" id="{4943B6C5-0C4C-4F77-AE35-6821F854DCFE}" vid="{F0EF8CE7-73D3-46B9-8592-48ABAFE737AF}"/>
    </a:ext>
  </a:extLst>
</a:theme>
</file>

<file path=ppt/theme/theme2.xml><?xml version="1.0" encoding="utf-8"?>
<a:theme xmlns:a="http://schemas.openxmlformats.org/drawingml/2006/main" name="Hot ITem Theme">
  <a:themeElements>
    <a:clrScheme name="HI colors">
      <a:dk1>
        <a:srgbClr val="555C6B"/>
      </a:dk1>
      <a:lt1>
        <a:srgbClr val="FFFFFF"/>
      </a:lt1>
      <a:dk2>
        <a:srgbClr val="E60018"/>
      </a:dk2>
      <a:lt2>
        <a:srgbClr val="F4F6F8"/>
      </a:lt2>
      <a:accent1>
        <a:srgbClr val="FF6600"/>
      </a:accent1>
      <a:accent2>
        <a:srgbClr val="F3C500"/>
      </a:accent2>
      <a:accent3>
        <a:srgbClr val="4AC300"/>
      </a:accent3>
      <a:accent4>
        <a:srgbClr val="36A7DE"/>
      </a:accent4>
      <a:accent5>
        <a:srgbClr val="DB4FAC"/>
      </a:accent5>
      <a:accent6>
        <a:srgbClr val="7A68CE"/>
      </a:accent6>
      <a:hlink>
        <a:srgbClr val="36A7DE"/>
      </a:hlink>
      <a:folHlink>
        <a:srgbClr val="7A68CE"/>
      </a:folHlink>
    </a:clrScheme>
    <a:fontScheme name="Hot ITem 201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5875" cap="rnd">
          <a:solidFill>
            <a:schemeClr val="tx2"/>
          </a:solidFill>
          <a:round/>
          <a:tailEnd type="none"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Clr>
            <a:schemeClr val="accent3"/>
          </a:buClr>
          <a:defRPr sz="900" dirty="0" err="1" smtClean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5875" cap="rnd">
          <a:solidFill>
            <a:schemeClr val="bg2">
              <a:lumMod val="75000"/>
            </a:schemeClr>
          </a:solidFill>
          <a:round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87313" indent="-87313" algn="l">
          <a:buClr>
            <a:schemeClr val="accent3"/>
          </a:buClr>
          <a:buFont typeface="Wingdings" panose="05000000000000000000" pitchFamily="2" charset="2"/>
          <a:buChar char="§"/>
          <a:defRPr sz="900" dirty="0" err="1" smtClean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chema's Friso.pptx" id="{D540B279-B78B-4840-83B8-10E048BB1A7D}" vid="{DEF4B1F1-96E2-4DD0-8E0A-A82ADE1AF72D}"/>
    </a:ext>
  </a:extLst>
</a:theme>
</file>

<file path=ppt/theme/theme3.xml><?xml version="1.0" encoding="utf-8"?>
<a:theme xmlns:a="http://schemas.openxmlformats.org/drawingml/2006/main" name="1_Hot ITem Theme">
  <a:themeElements>
    <a:clrScheme name="HI colors">
      <a:dk1>
        <a:srgbClr val="555C6B"/>
      </a:dk1>
      <a:lt1>
        <a:srgbClr val="FFFFFF"/>
      </a:lt1>
      <a:dk2>
        <a:srgbClr val="E60018"/>
      </a:dk2>
      <a:lt2>
        <a:srgbClr val="F4F6F8"/>
      </a:lt2>
      <a:accent1>
        <a:srgbClr val="FF6600"/>
      </a:accent1>
      <a:accent2>
        <a:srgbClr val="F3C500"/>
      </a:accent2>
      <a:accent3>
        <a:srgbClr val="4AC300"/>
      </a:accent3>
      <a:accent4>
        <a:srgbClr val="36A7DE"/>
      </a:accent4>
      <a:accent5>
        <a:srgbClr val="DB4FAC"/>
      </a:accent5>
      <a:accent6>
        <a:srgbClr val="7A68CE"/>
      </a:accent6>
      <a:hlink>
        <a:srgbClr val="36A7DE"/>
      </a:hlink>
      <a:folHlink>
        <a:srgbClr val="7A68CE"/>
      </a:folHlink>
    </a:clrScheme>
    <a:fontScheme name="Hot ITem 201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5875" cap="rnd">
          <a:solidFill>
            <a:schemeClr val="tx2"/>
          </a:solidFill>
          <a:round/>
          <a:tailEnd type="none"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Clr>
            <a:schemeClr val="accent3"/>
          </a:buClr>
          <a:defRPr sz="900" dirty="0" err="1" smtClean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5875" cap="rnd">
          <a:solidFill>
            <a:schemeClr val="bg2">
              <a:lumMod val="75000"/>
            </a:schemeClr>
          </a:solidFill>
          <a:round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87313" indent="-87313" algn="l">
          <a:buClr>
            <a:schemeClr val="accent3"/>
          </a:buClr>
          <a:buFont typeface="Wingdings" panose="05000000000000000000" pitchFamily="2" charset="2"/>
          <a:buChar char="§"/>
          <a:defRPr sz="900" dirty="0" err="1" smtClean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chema's Friso.pptx" id="{D540B279-B78B-4840-83B8-10E048BB1A7D}" vid="{DEF4B1F1-96E2-4DD0-8E0A-A82ADE1AF72D}"/>
    </a:ext>
  </a:extLst>
</a:theme>
</file>

<file path=ppt/theme/theme4.xml><?xml version="1.0" encoding="utf-8"?>
<a:theme xmlns:a="http://schemas.openxmlformats.org/drawingml/2006/main" name="1_Hot ITem Theme">
  <a:themeElements>
    <a:clrScheme name="HI colors">
      <a:dk1>
        <a:srgbClr val="555C6B"/>
      </a:dk1>
      <a:lt1>
        <a:srgbClr val="FFFFFF"/>
      </a:lt1>
      <a:dk2>
        <a:srgbClr val="E60018"/>
      </a:dk2>
      <a:lt2>
        <a:srgbClr val="F4F6F8"/>
      </a:lt2>
      <a:accent1>
        <a:srgbClr val="FF6600"/>
      </a:accent1>
      <a:accent2>
        <a:srgbClr val="F3C500"/>
      </a:accent2>
      <a:accent3>
        <a:srgbClr val="4AC300"/>
      </a:accent3>
      <a:accent4>
        <a:srgbClr val="36A7DE"/>
      </a:accent4>
      <a:accent5>
        <a:srgbClr val="DB4FAC"/>
      </a:accent5>
      <a:accent6>
        <a:srgbClr val="7A68CE"/>
      </a:accent6>
      <a:hlink>
        <a:srgbClr val="36A7DE"/>
      </a:hlink>
      <a:folHlink>
        <a:srgbClr val="7A68CE"/>
      </a:folHlink>
    </a:clrScheme>
    <a:fontScheme name="Hot ITem 201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5875" cap="rnd">
          <a:solidFill>
            <a:schemeClr val="tx2"/>
          </a:solidFill>
          <a:round/>
          <a:tailEnd type="none"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Clr>
            <a:schemeClr val="accent3"/>
          </a:buClr>
          <a:defRPr sz="900" dirty="0" err="1" smtClean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5875" cap="rnd">
          <a:solidFill>
            <a:schemeClr val="bg2">
              <a:lumMod val="75000"/>
            </a:schemeClr>
          </a:solidFill>
          <a:round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87313" indent="-87313" algn="l">
          <a:buClr>
            <a:schemeClr val="accent3"/>
          </a:buClr>
          <a:buFont typeface="Wingdings" panose="05000000000000000000" pitchFamily="2" charset="2"/>
          <a:buChar char="§"/>
          <a:defRPr sz="900" dirty="0" err="1" smtClean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chema's Friso.pptx" id="{D540B279-B78B-4840-83B8-10E048BB1A7D}" vid="{DEF4B1F1-96E2-4DD0-8E0A-A82ADE1AF72D}"/>
    </a:ext>
  </a:extLst>
</a:theme>
</file>

<file path=ppt/theme/theme5.xml><?xml version="1.0" encoding="utf-8"?>
<a:theme xmlns:a="http://schemas.openxmlformats.org/drawingml/2006/main" name="2_Hot ITem Theme">
  <a:themeElements>
    <a:clrScheme name="HI colors">
      <a:dk1>
        <a:srgbClr val="555C6B"/>
      </a:dk1>
      <a:lt1>
        <a:srgbClr val="FFFFFF"/>
      </a:lt1>
      <a:dk2>
        <a:srgbClr val="E60018"/>
      </a:dk2>
      <a:lt2>
        <a:srgbClr val="F4F6F8"/>
      </a:lt2>
      <a:accent1>
        <a:srgbClr val="FF6600"/>
      </a:accent1>
      <a:accent2>
        <a:srgbClr val="F3C500"/>
      </a:accent2>
      <a:accent3>
        <a:srgbClr val="4AC300"/>
      </a:accent3>
      <a:accent4>
        <a:srgbClr val="36A7DE"/>
      </a:accent4>
      <a:accent5>
        <a:srgbClr val="DB4FAC"/>
      </a:accent5>
      <a:accent6>
        <a:srgbClr val="7A68CE"/>
      </a:accent6>
      <a:hlink>
        <a:srgbClr val="36A7DE"/>
      </a:hlink>
      <a:folHlink>
        <a:srgbClr val="7A68CE"/>
      </a:folHlink>
    </a:clrScheme>
    <a:fontScheme name="Hot ITem 201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5875" cap="rnd">
          <a:solidFill>
            <a:schemeClr val="tx2"/>
          </a:solidFill>
          <a:round/>
          <a:tailEnd type="none"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Clr>
            <a:schemeClr val="accent3"/>
          </a:buClr>
          <a:defRPr sz="900" dirty="0" err="1" smtClean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5875" cap="rnd">
          <a:solidFill>
            <a:schemeClr val="bg2">
              <a:lumMod val="75000"/>
            </a:schemeClr>
          </a:solidFill>
          <a:round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87313" indent="-87313" algn="l">
          <a:buClr>
            <a:schemeClr val="accent3"/>
          </a:buClr>
          <a:buFont typeface="Wingdings" panose="05000000000000000000" pitchFamily="2" charset="2"/>
          <a:buChar char="§"/>
          <a:defRPr sz="900" dirty="0" err="1" smtClean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chema's Friso.pptx" id="{D540B279-B78B-4840-83B8-10E048BB1A7D}" vid="{DEF4B1F1-96E2-4DD0-8E0A-A82ADE1AF72D}"/>
    </a:ext>
  </a:extLst>
</a:theme>
</file>

<file path=ppt/theme/theme6.xml><?xml version="1.0" encoding="utf-8"?>
<a:theme xmlns:a="http://schemas.openxmlformats.org/drawingml/2006/main" name="Office Theme">
  <a:themeElements>
    <a:clrScheme name="Hot ITem 2013">
      <a:dk1>
        <a:srgbClr val="555C6B"/>
      </a:dk1>
      <a:lt1>
        <a:srgbClr val="FFFFFF"/>
      </a:lt1>
      <a:dk2>
        <a:srgbClr val="E60018"/>
      </a:dk2>
      <a:lt2>
        <a:srgbClr val="F4F6F8"/>
      </a:lt2>
      <a:accent1>
        <a:srgbClr val="FF6600"/>
      </a:accent1>
      <a:accent2>
        <a:srgbClr val="F3C500"/>
      </a:accent2>
      <a:accent3>
        <a:srgbClr val="4AC300"/>
      </a:accent3>
      <a:accent4>
        <a:srgbClr val="36A7DE"/>
      </a:accent4>
      <a:accent5>
        <a:srgbClr val="DB4FAC"/>
      </a:accent5>
      <a:accent6>
        <a:srgbClr val="7A68CE"/>
      </a:accent6>
      <a:hlink>
        <a:srgbClr val="36A7DE"/>
      </a:hlink>
      <a:folHlink>
        <a:srgbClr val="7A68CE"/>
      </a:folHlink>
    </a:clrScheme>
    <a:fontScheme name="Hot ITem 2013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Hot ITem 2013">
      <a:dk1>
        <a:srgbClr val="555C6B"/>
      </a:dk1>
      <a:lt1>
        <a:srgbClr val="FFFFFF"/>
      </a:lt1>
      <a:dk2>
        <a:srgbClr val="E60018"/>
      </a:dk2>
      <a:lt2>
        <a:srgbClr val="F4F6F8"/>
      </a:lt2>
      <a:accent1>
        <a:srgbClr val="FF6600"/>
      </a:accent1>
      <a:accent2>
        <a:srgbClr val="F3C500"/>
      </a:accent2>
      <a:accent3>
        <a:srgbClr val="4AC300"/>
      </a:accent3>
      <a:accent4>
        <a:srgbClr val="36A7DE"/>
      </a:accent4>
      <a:accent5>
        <a:srgbClr val="DB4FAC"/>
      </a:accent5>
      <a:accent6>
        <a:srgbClr val="7A68CE"/>
      </a:accent6>
      <a:hlink>
        <a:srgbClr val="36A7DE"/>
      </a:hlink>
      <a:folHlink>
        <a:srgbClr val="7A68CE"/>
      </a:folHlink>
    </a:clrScheme>
    <a:fontScheme name="Hot ITem 2013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91F3438B5631F44BE1AD6B1A0848B46" ma:contentTypeVersion="15" ma:contentTypeDescription="Create a new document." ma:contentTypeScope="" ma:versionID="bf853588cfd4a9d0a67658180a13c0d3">
  <xsd:schema xmlns:xsd="http://www.w3.org/2001/XMLSchema" xmlns:xs="http://www.w3.org/2001/XMLSchema" xmlns:p="http://schemas.microsoft.com/office/2006/metadata/properties" xmlns:ns2="fd4b43dc-e565-4e85-8b43-88d30f60ec94" xmlns:ns3="5e9da69e-9e9b-4407-8f90-7085e49adebd" targetNamespace="http://schemas.microsoft.com/office/2006/metadata/properties" ma:root="true" ma:fieldsID="3368bb5d74bc7447301096aac4353de2" ns2:_="" ns3:_="">
    <xsd:import namespace="fd4b43dc-e565-4e85-8b43-88d30f60ec94"/>
    <xsd:import namespace="5e9da69e-9e9b-4407-8f90-7085e49adeb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4b43dc-e565-4e85-8b43-88d30f60ec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4fcdf52e-46df-449b-b284-70e2acc7bb4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9da69e-9e9b-4407-8f90-7085e49adebd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75affa2-26f4-47d3-aed5-b01025b52fad}" ma:internalName="TaxCatchAll" ma:showField="CatchAllData" ma:web="5e9da69e-9e9b-4407-8f90-7085e49adeb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e9da69e-9e9b-4407-8f90-7085e49adebd" xsi:nil="true"/>
    <lcf76f155ced4ddcb4097134ff3c332f xmlns="fd4b43dc-e565-4e85-8b43-88d30f60ec94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8651541-30A4-445C-A309-05A256D080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4b43dc-e565-4e85-8b43-88d30f60ec94"/>
    <ds:schemaRef ds:uri="5e9da69e-9e9b-4407-8f90-7085e49adeb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A509901-439F-4FCC-86D0-018EE2400365}">
  <ds:schemaRefs>
    <ds:schemaRef ds:uri="9f2bfe55-c281-4340-957a-91f870c6dd1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5e9da69e-9e9b-4407-8f90-7085e49adebd"/>
    <ds:schemaRef ds:uri="fd4b43dc-e565-4e85-8b43-88d30f60ec94"/>
  </ds:schemaRefs>
</ds:datastoreItem>
</file>

<file path=customXml/itemProps3.xml><?xml version="1.0" encoding="utf-8"?>
<ds:datastoreItem xmlns:ds="http://schemas.openxmlformats.org/officeDocument/2006/customXml" ds:itemID="{C6F51064-4D8A-49CA-8EEE-1A95CC614E58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21429da9-e4ad-45f9-9a6f-cd126a64274b}" enabled="0" method="" siteId="{21429da9-e4ad-45f9-9a6f-cd126a64274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Hot ITem Groep 25 jaar</Template>
  <TotalTime>0</TotalTime>
  <Words>2995</Words>
  <Application>Microsoft Office PowerPoint</Application>
  <PresentationFormat>Custom</PresentationFormat>
  <Paragraphs>624</Paragraphs>
  <Slides>50</Slides>
  <Notes>12</Notes>
  <HiddenSlides>1</HiddenSlides>
  <MMClips>0</MMClips>
  <ScaleCrop>false</ScaleCrop>
  <HeadingPairs>
    <vt:vector size="4" baseType="variant">
      <vt:variant>
        <vt:lpstr>Theme</vt:lpstr>
      </vt:variant>
      <vt:variant>
        <vt:i4>5</vt:i4>
      </vt:variant>
      <vt:variant>
        <vt:lpstr>Slide Titles</vt:lpstr>
      </vt:variant>
      <vt:variant>
        <vt:i4>50</vt:i4>
      </vt:variant>
    </vt:vector>
  </HeadingPairs>
  <TitlesOfParts>
    <vt:vector size="55" baseType="lpstr">
      <vt:lpstr>4_Hot ITem Theme</vt:lpstr>
      <vt:lpstr>Hot ITem Theme</vt:lpstr>
      <vt:lpstr>1_Hot ITem Theme</vt:lpstr>
      <vt:lpstr>1_Hot ITem Theme</vt:lpstr>
      <vt:lpstr>2_Hot ITem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dwin</vt:lpstr>
      <vt:lpstr>PowerPoint Presentation</vt:lpstr>
      <vt:lpstr>PowerPoint Presentation</vt:lpstr>
      <vt:lpstr>PowerPoint Presentation</vt:lpstr>
      <vt:lpstr>PowerPoint Presentation</vt:lpstr>
      <vt:lpstr>Raymond</vt:lpstr>
      <vt:lpstr>Achtergrond SWO Nederland </vt:lpstr>
      <vt:lpstr>‘Wij helpen nieuwe Nederlanders aan passende woonruimte en financieren een sociale omgeving’</vt:lpstr>
      <vt:lpstr> SWO Nederland – beyond compliance</vt:lpstr>
      <vt:lpstr>Business Objecten Model SWO Nederland</vt:lpstr>
      <vt:lpstr>Besturing SWO Nederland vanuit de Strategymap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utg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Hot ITem Systeembehe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gemene Meeting</dc:title>
  <dc:creator>Miranda Lenstra</dc:creator>
  <cp:lastModifiedBy>Rutger van IJzendoorn</cp:lastModifiedBy>
  <cp:revision>44</cp:revision>
  <cp:lastPrinted>2016-06-02T10:38:32Z</cp:lastPrinted>
  <dcterms:created xsi:type="dcterms:W3CDTF">2023-03-08T07:43:59Z</dcterms:created>
  <dcterms:modified xsi:type="dcterms:W3CDTF">2024-06-21T11:16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9708886363EBE4C9E46CCCB9C03F38C</vt:lpwstr>
  </property>
  <property fmtid="{D5CDD505-2E9C-101B-9397-08002B2CF9AE}" pid="3" name="MediaServiceImageTags">
    <vt:lpwstr/>
  </property>
</Properties>
</file>